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7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8.xml" ContentType="application/vnd.openxmlformats-officedocument.presentationml.tags+xml"/>
  <Override PartName="/ppt/notesSlides/notesSlide23.xml" ContentType="application/vnd.openxmlformats-officedocument.presentationml.notesSlide+xml"/>
  <Override PartName="/ppt/tags/tag9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6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2"/>
  </p:notesMasterIdLst>
  <p:sldIdLst>
    <p:sldId id="320" r:id="rId5"/>
    <p:sldId id="295" r:id="rId6"/>
    <p:sldId id="349" r:id="rId7"/>
    <p:sldId id="352" r:id="rId8"/>
    <p:sldId id="345" r:id="rId9"/>
    <p:sldId id="293" r:id="rId10"/>
    <p:sldId id="291" r:id="rId11"/>
    <p:sldId id="344" r:id="rId12"/>
    <p:sldId id="323" r:id="rId13"/>
    <p:sldId id="325" r:id="rId14"/>
    <p:sldId id="324" r:id="rId15"/>
    <p:sldId id="326" r:id="rId16"/>
    <p:sldId id="327" r:id="rId17"/>
    <p:sldId id="328" r:id="rId18"/>
    <p:sldId id="337" r:id="rId19"/>
    <p:sldId id="318" r:id="rId20"/>
    <p:sldId id="329" r:id="rId21"/>
    <p:sldId id="333" r:id="rId22"/>
    <p:sldId id="330" r:id="rId23"/>
    <p:sldId id="334" r:id="rId24"/>
    <p:sldId id="331" r:id="rId25"/>
    <p:sldId id="340" r:id="rId26"/>
    <p:sldId id="341" r:id="rId27"/>
    <p:sldId id="343" r:id="rId28"/>
    <p:sldId id="335" r:id="rId29"/>
    <p:sldId id="342" r:id="rId30"/>
    <p:sldId id="339" r:id="rId31"/>
    <p:sldId id="319" r:id="rId32"/>
    <p:sldId id="347" r:id="rId33"/>
    <p:sldId id="346" r:id="rId34"/>
    <p:sldId id="348" r:id="rId35"/>
    <p:sldId id="351" r:id="rId36"/>
    <p:sldId id="350" r:id="rId37"/>
    <p:sldId id="353" r:id="rId38"/>
    <p:sldId id="354" r:id="rId39"/>
    <p:sldId id="355" r:id="rId40"/>
    <p:sldId id="356" r:id="rId4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EB0ECE-2EDA-4276-A693-865F0600191B}" v="34" dt="2025-01-05T21:09:01.226"/>
  </p1510:revLst>
</p1510:revInfo>
</file>

<file path=ppt/tableStyles.xml><?xml version="1.0" encoding="utf-8"?>
<a:tblStyleLst xmlns:a="http://schemas.openxmlformats.org/drawingml/2006/main" def="{5C22544A-7EE6-4342-B048-85BDC9FD1C3A}"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7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612221-9DBB-433E-AA7D-7DFFE6D73E13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1CC4A8-D8B1-4787-A076-85F6E159568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249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BD8FD5-E017-86AB-1E07-6CD6B2CE55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1D3AA7-420A-5EC5-8922-FE03E75E9F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41B791-A4B0-269B-CE81-975BE08345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34120C-7DEB-5B41-D684-157BE04608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7785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1123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4854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2048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9490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4945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2334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2595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84ACBD-C715-4521-E7CD-1E2FE1B970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3204754-4A1D-23F2-A1A2-1A45E7058A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726F69-9292-8E2D-76D5-8DD61044BE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BFD394-6830-1F89-4F36-B9902AB2E3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6980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2F128F-FC37-FAAA-3C3D-9B01C5B96A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DF0C29-6D59-A3D9-95CA-2444354BD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F87556-653E-3949-C634-51148032CC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E5BD6-3F97-121A-A03C-6A398766BB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1067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6958EE-1D65-1507-8ED2-DB207C848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1C6BE3-34EE-A36D-7C44-553A357ACA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F87914-6ACD-3F82-D61E-D8B5A4B257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D9F43A-A3E3-8003-6A24-0231223D40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8619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F56F5C-BF35-E829-6598-F4885A7612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F9526C-49FB-7105-5C1E-2B50A5E3B3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D22BDA-4208-5366-5562-B495FB240D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2792B1-3C6D-0A48-3712-CE516841B8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2753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7320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A93227-E17C-C92A-7C47-46328CCB6E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809452-B5A7-66B5-CE07-85633B552E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2301D5-A4F6-F07C-1048-E218583DD1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9AB15F-B97C-EB30-C2D4-70BFB0D775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9037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628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7BFE76-2951-CB5F-1151-8035557DBD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86DE155-6EDD-7FDA-7C89-D1E7A2D94D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D45982-DD77-F622-D394-E4E73877FD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A42E19-C6BF-CA33-EFD5-AE75B6BA98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06721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53B07E-6B4C-B203-0B04-5CF50937C2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0DF0BF-929D-E16C-E0E1-DEB3F35FE1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16100B-59F3-107B-446A-53842702A9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B2E876-7E96-2DCD-7C37-DE36D700EE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9969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5E1B8A-90BB-BAFA-543A-9DDC20587B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4311CF-164E-36C0-87E8-7F8ACFE153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FA3955-48B2-F825-1C36-53FBFC5951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C19F04-BC2F-BC8E-3323-5B5BF07A9A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18191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A14312-EB44-209C-A8C3-8834EE07D0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00DC0E6-E395-FA46-C416-56E8D09CDE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160F8E-62BB-21E5-6C0B-75B6876AE4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A93C56-3439-D2C3-EBF9-1B9D20AA1C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92163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B68501-4CAB-A125-58DA-EF446DF405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D8D6D7-ECE7-9687-5D6D-FF55CD936B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D4E88B-A49F-D0AB-A65D-C83CAF87D6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261B95-3E49-0AD7-51CE-934D5D672B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54675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A9B3A8-42AD-4CBC-8AEC-730A8FDAE9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D577E8-E996-6FFC-1B1E-0061FD6EA7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2C14AA-5826-89A6-A61E-7D5541560B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CAC7C-0ED3-67EC-5875-9C76B0C8D1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1469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029839-699C-5563-B65E-D39F0041F8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0DBDE7-DA9B-F37D-E1CA-203D2DA38A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CD8419D-3295-67F5-AEA5-60D7908B18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703AAE-5DC3-3D36-DB0D-C46ACCD9D1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71900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621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91624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0051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074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95548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5219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26E5A-B4DB-48F2-82F7-660ECB9686AE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6671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E37F3-EA8A-4063-A51F-5352B0D157F0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99B82-BABA-473A-A096-150C0B2B8B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71390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E37F3-EA8A-4063-A51F-5352B0D157F0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99B82-BABA-473A-A096-150C0B2B8B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54092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E37F3-EA8A-4063-A51F-5352B0D157F0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99B82-BABA-473A-A096-150C0B2B8B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22479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E37F3-EA8A-4063-A51F-5352B0D157F0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99B82-BABA-473A-A096-150C0B2B8B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5845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E37F3-EA8A-4063-A51F-5352B0D157F0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99B82-BABA-473A-A096-150C0B2B8B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15691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E37F3-EA8A-4063-A51F-5352B0D157F0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99B82-BABA-473A-A096-150C0B2B8B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6893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E37F3-EA8A-4063-A51F-5352B0D157F0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99B82-BABA-473A-A096-150C0B2B8B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67651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E37F3-EA8A-4063-A51F-5352B0D157F0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99B82-BABA-473A-A096-150C0B2B8B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8014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E37F3-EA8A-4063-A51F-5352B0D157F0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99B82-BABA-473A-A096-150C0B2B8B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8063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E37F3-EA8A-4063-A51F-5352B0D157F0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99B82-BABA-473A-A096-150C0B2B8B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8979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E37F3-EA8A-4063-A51F-5352B0D157F0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99B82-BABA-473A-A096-150C0B2B8B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1946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10E37F3-EA8A-4063-A51F-5352B0D157F0}" type="datetimeFigureOut">
              <a:rPr lang="en-GB" smtClean="0"/>
              <a:t>05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899B82-BABA-473A-A096-150C0B2B8B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243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fi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8.png"/><Relationship Id="rId4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8.png"/><Relationship Id="rId5" Type="http://schemas.openxmlformats.org/officeDocument/2006/relationships/notesSlide" Target="../notesSlides/notesSlide27.xml"/><Relationship Id="rId4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38.png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github.com/EleanorRigby12/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9" name="Rectangle 38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FD87E-33FF-2EDB-4330-CFC172B603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0338" y="640080"/>
            <a:ext cx="3734014" cy="3566160"/>
          </a:xfrm>
        </p:spPr>
        <p:txBody>
          <a:bodyPr anchor="b">
            <a:normAutofit/>
          </a:bodyPr>
          <a:lstStyle/>
          <a:p>
            <a:pPr algn="l"/>
            <a:r>
              <a:rPr lang="en-US" sz="5400" dirty="0">
                <a:ln w="22225">
                  <a:solidFill>
                    <a:schemeClr val="tx1"/>
                  </a:solidFill>
                  <a:miter lim="800000"/>
                </a:ln>
              </a:rPr>
              <a:t>BDA Project</a:t>
            </a:r>
            <a:endParaRPr lang="en-GB" sz="5400" dirty="0">
              <a:ln w="22225">
                <a:solidFill>
                  <a:schemeClr val="tx1"/>
                </a:solidFill>
                <a:miter lim="800000"/>
              </a:ln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C0AB95-5C42-5BA2-78AD-7343701529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0339" y="4636008"/>
            <a:ext cx="3734014" cy="1572768"/>
          </a:xfrm>
        </p:spPr>
        <p:txBody>
          <a:bodyPr>
            <a:normAutofit/>
          </a:bodyPr>
          <a:lstStyle/>
          <a:p>
            <a:pPr algn="l"/>
            <a:r>
              <a:rPr lang="en-US" dirty="0"/>
              <a:t>BDA 23</a:t>
            </a:r>
          </a:p>
          <a:p>
            <a:pPr algn="l"/>
            <a:r>
              <a:rPr lang="en-US" dirty="0"/>
              <a:t>January 6</a:t>
            </a:r>
            <a:r>
              <a:rPr lang="en-US" baseline="30000" dirty="0"/>
              <a:t>th</a:t>
            </a:r>
            <a:r>
              <a:rPr lang="en-US" dirty="0"/>
              <a:t> , 2025</a:t>
            </a:r>
            <a:endParaRPr lang="en-GB" dirty="0"/>
          </a:p>
        </p:txBody>
      </p:sp>
      <p:sp>
        <p:nvSpPr>
          <p:cNvPr id="41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0338" y="4409267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olorful cat with many icons&#10;&#10;Description automatically generated">
            <a:extLst>
              <a:ext uri="{FF2B5EF4-FFF2-40B4-BE49-F238E27FC236}">
                <a16:creationId xmlns:a16="http://schemas.microsoft.com/office/drawing/2014/main" id="{F221C2AE-2C2C-B619-2C95-1F5046188F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3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79688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1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3EBC111-CB5F-CA4F-16C2-2B9F1D76A6BD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Servi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448609-AB17-CAEF-C093-9D6E94ADEA56}"/>
              </a:ext>
            </a:extLst>
          </p:cNvPr>
          <p:cNvSpPr txBox="1"/>
          <p:nvPr/>
        </p:nvSpPr>
        <p:spPr>
          <a:xfrm>
            <a:off x="965145" y="1727200"/>
            <a:ext cx="3879851" cy="8636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57150" algn="ctr" defTabSz="914400">
              <a:lnSpc>
                <a:spcPct val="90000"/>
              </a:lnSpc>
              <a:spcAft>
                <a:spcPts val="600"/>
              </a:spcAft>
              <a:defRPr sz="1500"/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We can see that customers that purchase Tech Support churn much less that those without suppo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C1FD67-9C88-BD69-0791-E994DF064CD3}"/>
              </a:ext>
            </a:extLst>
          </p:cNvPr>
          <p:cNvSpPr txBox="1"/>
          <p:nvPr/>
        </p:nvSpPr>
        <p:spPr>
          <a:xfrm>
            <a:off x="6864350" y="1727200"/>
            <a:ext cx="4500577" cy="94021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57150" algn="ctr" defTabSz="914400">
              <a:lnSpc>
                <a:spcPct val="90000"/>
              </a:lnSpc>
              <a:spcAft>
                <a:spcPts val="600"/>
              </a:spcAft>
            </a:pPr>
            <a:r>
              <a:rPr lang="en-US" sz="1600" dirty="0"/>
              <a:t>We can see that customers with fiber optic internet connection churn much more. </a:t>
            </a:r>
          </a:p>
          <a:p>
            <a:pPr marL="57150" algn="ctr" defTabSz="914400">
              <a:lnSpc>
                <a:spcPct val="90000"/>
              </a:lnSpc>
              <a:spcAft>
                <a:spcPts val="600"/>
              </a:spcAft>
            </a:pPr>
            <a:r>
              <a:rPr lang="en-US" sz="1600" dirty="0"/>
              <a:t>Probably customers are dissatisfied with this internet service</a:t>
            </a:r>
            <a:endParaRPr lang="en-US" sz="1200" dirty="0"/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54614E50-9568-B1DF-BA2E-B4DFCD6068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494" y="2857910"/>
            <a:ext cx="4337155" cy="35220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B9B78F53-61AB-849E-978C-05A7200435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0427" y="2857909"/>
            <a:ext cx="4337155" cy="35220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2493948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3EBC111-CB5F-CA4F-16C2-2B9F1D76A6BD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Servi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448609-AB17-CAEF-C093-9D6E94ADEA56}"/>
              </a:ext>
            </a:extLst>
          </p:cNvPr>
          <p:cNvSpPr txBox="1"/>
          <p:nvPr/>
        </p:nvSpPr>
        <p:spPr>
          <a:xfrm>
            <a:off x="965145" y="1727200"/>
            <a:ext cx="3879851" cy="8636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57150" algn="ctr" defTabSz="914400">
              <a:lnSpc>
                <a:spcPct val="90000"/>
              </a:lnSpc>
              <a:spcAft>
                <a:spcPts val="600"/>
              </a:spcAft>
              <a:defRPr sz="1500"/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We can see that in the absence of online security, most customers chur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C1FD67-9C88-BD69-0791-E994DF064CD3}"/>
              </a:ext>
            </a:extLst>
          </p:cNvPr>
          <p:cNvSpPr txBox="1"/>
          <p:nvPr/>
        </p:nvSpPr>
        <p:spPr>
          <a:xfrm>
            <a:off x="6864350" y="1727200"/>
            <a:ext cx="4500577" cy="94021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57150" algn="ctr" defTabSz="914400">
              <a:lnSpc>
                <a:spcPct val="90000"/>
              </a:lnSpc>
              <a:spcAft>
                <a:spcPts val="600"/>
              </a:spcAft>
            </a:pPr>
            <a:r>
              <a:rPr lang="en-US" sz="1600" dirty="0"/>
              <a:t>We can see that only 10% of customers doesn't have phone service. out of them, 25% churn.</a:t>
            </a:r>
            <a:endParaRPr lang="en-US" sz="1200" dirty="0"/>
          </a:p>
        </p:txBody>
      </p:sp>
      <p:pic>
        <p:nvPicPr>
          <p:cNvPr id="6" name="Picture 12">
            <a:extLst>
              <a:ext uri="{FF2B5EF4-FFF2-40B4-BE49-F238E27FC236}">
                <a16:creationId xmlns:a16="http://schemas.microsoft.com/office/drawing/2014/main" id="{4A5EFF64-2815-DBBC-E32A-D850590D91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851" y="2853576"/>
            <a:ext cx="4349750" cy="34123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DFD60B59-F515-3923-A0A3-77AFBB04D1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547" y="2854341"/>
            <a:ext cx="4201045" cy="34115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9361643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3EBC111-CB5F-CA4F-16C2-2B9F1D76A6BD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Account Inform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448609-AB17-CAEF-C093-9D6E94ADEA56}"/>
              </a:ext>
            </a:extLst>
          </p:cNvPr>
          <p:cNvSpPr txBox="1"/>
          <p:nvPr/>
        </p:nvSpPr>
        <p:spPr>
          <a:xfrm>
            <a:off x="965145" y="1727200"/>
            <a:ext cx="3879851" cy="8636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57150" algn="ctr" defTabSz="914400">
              <a:lnSpc>
                <a:spcPct val="90000"/>
              </a:lnSpc>
              <a:spcAft>
                <a:spcPts val="600"/>
              </a:spcAft>
              <a:defRPr sz="1500"/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We can see that customer who pay using electronic check churn significantly more than the other method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C1FD67-9C88-BD69-0791-E994DF064CD3}"/>
              </a:ext>
            </a:extLst>
          </p:cNvPr>
          <p:cNvSpPr txBox="1"/>
          <p:nvPr/>
        </p:nvSpPr>
        <p:spPr>
          <a:xfrm>
            <a:off x="6864350" y="1727200"/>
            <a:ext cx="4500577" cy="94021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57150" algn="ctr" defTabSz="914400">
              <a:lnSpc>
                <a:spcPct val="90000"/>
              </a:lnSpc>
              <a:spcAft>
                <a:spcPts val="600"/>
              </a:spcAft>
            </a:pPr>
            <a:r>
              <a:rPr lang="en-US" sz="1500" dirty="0"/>
              <a:t>We can see that customer who pays with paperless billing are more likely to churn</a:t>
            </a: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5F71C972-0115-3DD5-3816-A8318E54E8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792" y="2853575"/>
            <a:ext cx="5339421" cy="34123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39D57A31-B0BB-20E0-E893-711545A18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80" y="2853575"/>
            <a:ext cx="4349748" cy="341230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509559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3EBC111-CB5F-CA4F-16C2-2B9F1D76A6BD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Account Inform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448609-AB17-CAEF-C093-9D6E94ADEA56}"/>
              </a:ext>
            </a:extLst>
          </p:cNvPr>
          <p:cNvSpPr txBox="1"/>
          <p:nvPr/>
        </p:nvSpPr>
        <p:spPr>
          <a:xfrm>
            <a:off x="5762297" y="1586819"/>
            <a:ext cx="2422853" cy="14986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57150" algn="ctr" defTabSz="914400">
              <a:lnSpc>
                <a:spcPct val="90000"/>
              </a:lnSpc>
              <a:spcAft>
                <a:spcPts val="600"/>
              </a:spcAft>
              <a:defRPr sz="1500"/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We can see that customers with monthly contract churn much more than other contracts (42% vs 10% and 3%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C1FD67-9C88-BD69-0791-E994DF064CD3}"/>
              </a:ext>
            </a:extLst>
          </p:cNvPr>
          <p:cNvSpPr txBox="1"/>
          <p:nvPr/>
        </p:nvSpPr>
        <p:spPr>
          <a:xfrm>
            <a:off x="0" y="4291020"/>
            <a:ext cx="3111500" cy="201453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57150" algn="ctr" defTabSz="914400">
              <a:lnSpc>
                <a:spcPct val="90000"/>
              </a:lnSpc>
              <a:spcAft>
                <a:spcPts val="600"/>
              </a:spcAft>
            </a:pPr>
            <a:r>
              <a:rPr lang="en-US" sz="1500" dirty="0"/>
              <a:t>Customers with monthly contract churn after 1-2 months, and customers with 2-year contact tend to last about 70 months. </a:t>
            </a:r>
          </a:p>
          <a:p>
            <a:pPr marL="57150" algn="ctr" defTabSz="914400">
              <a:lnSpc>
                <a:spcPct val="90000"/>
              </a:lnSpc>
              <a:spcAft>
                <a:spcPts val="600"/>
              </a:spcAft>
            </a:pPr>
            <a:r>
              <a:rPr lang="en-US" sz="1500" dirty="0"/>
              <a:t>This also shows that customers that are taking longer contacts are more loyal and less churn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F2BC6384-BB82-B65F-371B-B2B24D6DDD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5258" y="969635"/>
            <a:ext cx="3249392" cy="26387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172" name="Picture 4">
            <a:extLst>
              <a:ext uri="{FF2B5EF4-FFF2-40B4-BE49-F238E27FC236}">
                <a16:creationId xmlns:a16="http://schemas.microsoft.com/office/drawing/2014/main" id="{9D840934-E32B-8A00-5EE0-A16AC5320A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131" y="3777013"/>
            <a:ext cx="8712568" cy="29654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573267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3EBC111-CB5F-CA4F-16C2-2B9F1D76A6BD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Usage Inform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448609-AB17-CAEF-C093-9D6E94ADEA56}"/>
              </a:ext>
            </a:extLst>
          </p:cNvPr>
          <p:cNvSpPr txBox="1"/>
          <p:nvPr/>
        </p:nvSpPr>
        <p:spPr>
          <a:xfrm>
            <a:off x="8454238" y="1478147"/>
            <a:ext cx="3298042" cy="10156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57150" algn="ctr" defTabSz="914400">
              <a:lnSpc>
                <a:spcPct val="90000"/>
              </a:lnSpc>
              <a:spcAft>
                <a:spcPts val="600"/>
              </a:spcAft>
              <a:defRPr sz="1500"/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This is not normal distribution </a:t>
            </a:r>
          </a:p>
          <a:p>
            <a:pPr>
              <a:lnSpc>
                <a:spcPct val="100000"/>
              </a:lnSpc>
            </a:pPr>
            <a:r>
              <a:rPr lang="en-US" dirty="0"/>
              <a:t>The largest number of customers (around 1200) pay between 15–20 in Monthly Charges</a:t>
            </a:r>
          </a:p>
        </p:txBody>
      </p:sp>
      <p:pic>
        <p:nvPicPr>
          <p:cNvPr id="8198" name="Picture 6">
            <a:extLst>
              <a:ext uri="{FF2B5EF4-FFF2-40B4-BE49-F238E27FC236}">
                <a16:creationId xmlns:a16="http://schemas.microsoft.com/office/drawing/2014/main" id="{0D5E6DF8-FC44-FF79-DE49-837101BD3B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7247" y="2749655"/>
            <a:ext cx="3971018" cy="31151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200" name="Picture 8">
            <a:extLst>
              <a:ext uri="{FF2B5EF4-FFF2-40B4-BE49-F238E27FC236}">
                <a16:creationId xmlns:a16="http://schemas.microsoft.com/office/drawing/2014/main" id="{8BF2B385-3F24-E314-255B-18B216014B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751" y="2749654"/>
            <a:ext cx="3971017" cy="31151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416AF566-49AA-3659-4F5D-A2D9DC654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260" y="2749656"/>
            <a:ext cx="3535501" cy="31151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0086D96-9219-72A5-10F1-B5A6152F64DA}"/>
              </a:ext>
            </a:extLst>
          </p:cNvPr>
          <p:cNvSpPr txBox="1"/>
          <p:nvPr/>
        </p:nvSpPr>
        <p:spPr>
          <a:xfrm>
            <a:off x="132260" y="1347341"/>
            <a:ext cx="7746005" cy="12772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500" dirty="0"/>
              <a:t>As customer gain more tenure with the company, their churn rate decreases significantly, </a:t>
            </a:r>
          </a:p>
          <a:p>
            <a:pPr algn="ctr"/>
            <a:r>
              <a:rPr lang="en-US" sz="1500" dirty="0"/>
              <a:t>from 50% to as low as 7.8%.</a:t>
            </a:r>
          </a:p>
          <a:p>
            <a:pPr algn="ctr"/>
            <a:endParaRPr lang="en-US" sz="1500" dirty="0"/>
          </a:p>
          <a:p>
            <a:pPr algn="ctr"/>
            <a:r>
              <a:rPr lang="en-US" sz="1600" dirty="0"/>
              <a:t>Tenure distribution is not normal. </a:t>
            </a:r>
          </a:p>
          <a:p>
            <a:pPr algn="ctr"/>
            <a:r>
              <a:rPr lang="en-US" sz="1600" dirty="0"/>
              <a:t>There is large spike at 0–5 months (around 1200) where customers churn the highest</a:t>
            </a:r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2949238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3EBC111-CB5F-CA4F-16C2-2B9F1D76A6BD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Usage Inform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C76F0F-4AD4-241C-6C08-FECA91EB2932}"/>
              </a:ext>
            </a:extLst>
          </p:cNvPr>
          <p:cNvSpPr txBox="1"/>
          <p:nvPr/>
        </p:nvSpPr>
        <p:spPr>
          <a:xfrm>
            <a:off x="819157" y="1410713"/>
            <a:ext cx="478789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500" dirty="0"/>
              <a:t>The churn rate decreases as tenure increases, customers with longer tenures are less likely to churn. </a:t>
            </a:r>
          </a:p>
          <a:p>
            <a:r>
              <a:rPr lang="en-US" sz="1500" dirty="0"/>
              <a:t>We can also see that there are customers with 0 tenure and churn rate, meaning the data needs to be cleaned</a:t>
            </a:r>
            <a:endParaRPr lang="en-GB" sz="1500" dirty="0"/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BA92D206-6628-CA87-4EEA-EFA250ABD4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250" y="2657130"/>
            <a:ext cx="4889432" cy="364963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133FF05-265B-1BC8-2653-4395D66D3156}"/>
              </a:ext>
            </a:extLst>
          </p:cNvPr>
          <p:cNvSpPr txBox="1"/>
          <p:nvPr/>
        </p:nvSpPr>
        <p:spPr>
          <a:xfrm>
            <a:off x="6415087" y="1526129"/>
            <a:ext cx="5203757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500" dirty="0"/>
              <a:t>We can see very clearly month to month contract with high payment generate the highest churn rate. </a:t>
            </a:r>
          </a:p>
          <a:p>
            <a:r>
              <a:rPr lang="en-US" sz="1500" dirty="0"/>
              <a:t>We expect this feature to have the most impact on churn rate</a:t>
            </a:r>
            <a:endParaRPr lang="en-GB" sz="15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5B16D96-167D-1BF3-09F0-59DAA0C1DA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083" y="2676116"/>
            <a:ext cx="5582049" cy="36306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9211311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D6A370D-19E5-A04E-BD69-68A2871F3D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DD06A5E-D752-8E1A-DB58-14E26713BBE0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Data Engineering</a:t>
            </a:r>
          </a:p>
        </p:txBody>
      </p:sp>
      <p:sp>
        <p:nvSpPr>
          <p:cNvPr id="3" name="TextBox 82">
            <a:extLst>
              <a:ext uri="{FF2B5EF4-FFF2-40B4-BE49-F238E27FC236}">
                <a16:creationId xmlns:a16="http://schemas.microsoft.com/office/drawing/2014/main" id="{FB056AF2-1591-25BD-CA57-2F3586CE7478}"/>
              </a:ext>
            </a:extLst>
          </p:cNvPr>
          <p:cNvSpPr txBox="1"/>
          <p:nvPr/>
        </p:nvSpPr>
        <p:spPr>
          <a:xfrm>
            <a:off x="907003" y="906633"/>
            <a:ext cx="10377992" cy="447814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b="1" u="sng" dirty="0"/>
              <a:t>Feature changes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/>
              <a:t>We’ve added new feature </a:t>
            </a:r>
            <a:r>
              <a:rPr lang="en-US" sz="1500" b="1" dirty="0" err="1"/>
              <a:t>TenureGroup</a:t>
            </a:r>
            <a:r>
              <a:rPr lang="en-US" sz="1500" dirty="0"/>
              <a:t> which divide </a:t>
            </a:r>
            <a:r>
              <a:rPr lang="en-US" sz="1500" b="1" dirty="0"/>
              <a:t>tenure</a:t>
            </a:r>
            <a:r>
              <a:rPr lang="en-US" sz="1500" dirty="0"/>
              <a:t> into four tenure groups:</a:t>
            </a:r>
          </a:p>
          <a:p>
            <a:pPr marL="742950" lvl="1" indent="-285750">
              <a:buFontTx/>
              <a:buChar char="-"/>
              <a:defRPr/>
            </a:pPr>
            <a:r>
              <a:rPr lang="en-US" sz="1500" dirty="0"/>
              <a:t>Short tenure: 0-9</a:t>
            </a:r>
          </a:p>
          <a:p>
            <a:pPr marL="742950" lvl="1" indent="-285750">
              <a:buFontTx/>
              <a:buChar char="-"/>
              <a:defRPr/>
            </a:pPr>
            <a:r>
              <a:rPr lang="en-US" sz="1500" dirty="0"/>
              <a:t>Medium Tenure: 9-30</a:t>
            </a:r>
          </a:p>
          <a:p>
            <a:pPr marL="742950" lvl="1" indent="-285750">
              <a:buFontTx/>
              <a:buChar char="-"/>
              <a:defRPr/>
            </a:pPr>
            <a:r>
              <a:rPr lang="en-US" sz="1500" dirty="0"/>
              <a:t>Long Tenure: 30-55</a:t>
            </a:r>
          </a:p>
          <a:p>
            <a:pPr marL="742950" lvl="1" indent="-285750">
              <a:buFontTx/>
              <a:buChar char="-"/>
              <a:defRPr/>
            </a:pPr>
            <a:r>
              <a:rPr lang="en-US" sz="1500" dirty="0"/>
              <a:t>Very long Tenure: 55 and above</a:t>
            </a:r>
          </a:p>
          <a:p>
            <a:pPr lvl="1">
              <a:defRPr/>
            </a:pPr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/>
              <a:t>We’ve added new feature </a:t>
            </a:r>
            <a:r>
              <a:rPr lang="en-US" sz="1500" b="1" dirty="0" err="1"/>
              <a:t>PaymentGroup</a:t>
            </a:r>
            <a:r>
              <a:rPr lang="en-US" sz="1500" dirty="0"/>
              <a:t> which divide </a:t>
            </a:r>
            <a:r>
              <a:rPr lang="en-US" sz="1500" b="1" dirty="0" err="1"/>
              <a:t>monthlycharges</a:t>
            </a:r>
            <a:r>
              <a:rPr lang="en-US" sz="1500" dirty="0"/>
              <a:t> into three paying groups:</a:t>
            </a:r>
          </a:p>
          <a:p>
            <a:pPr marL="742950" lvl="1" indent="-285750">
              <a:buFontTx/>
              <a:buChar char="-"/>
              <a:defRPr/>
            </a:pPr>
            <a:r>
              <a:rPr lang="en-US" sz="1500" dirty="0"/>
              <a:t>Low paying customers: 18-35</a:t>
            </a:r>
          </a:p>
          <a:p>
            <a:pPr marL="742950" lvl="1" indent="-285750">
              <a:buFontTx/>
              <a:buChar char="-"/>
              <a:defRPr/>
            </a:pPr>
            <a:r>
              <a:rPr lang="en-US" sz="1500" dirty="0"/>
              <a:t>Normal paying customers: 35-90</a:t>
            </a:r>
          </a:p>
          <a:p>
            <a:pPr marL="742950" lvl="1" indent="-285750">
              <a:buFontTx/>
              <a:buChar char="-"/>
              <a:defRPr/>
            </a:pPr>
            <a:r>
              <a:rPr lang="en-US" sz="1500" dirty="0"/>
              <a:t>High paying customers: 90 and abov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/>
              <a:t>We’ve removed </a:t>
            </a:r>
            <a:r>
              <a:rPr lang="en-US" sz="1500" dirty="0" err="1"/>
              <a:t>CustomerID</a:t>
            </a:r>
            <a:r>
              <a:rPr lang="en-US" sz="1500" dirty="0"/>
              <a:t> in prep phas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1500" dirty="0"/>
          </a:p>
          <a:p>
            <a:pPr>
              <a:defRPr/>
            </a:pPr>
            <a:r>
              <a:rPr lang="en-US" sz="1500" b="1" u="sng" dirty="0"/>
              <a:t>Dealing with missing values:</a:t>
            </a:r>
          </a:p>
          <a:p>
            <a:pPr>
              <a:defRPr/>
            </a:pPr>
            <a:r>
              <a:rPr lang="en-GB" sz="1500" dirty="0"/>
              <a:t>There are 11 customers (rows) without </a:t>
            </a:r>
            <a:r>
              <a:rPr lang="en-GB" sz="1500" dirty="0" err="1"/>
              <a:t>TotalCharges</a:t>
            </a:r>
            <a:r>
              <a:rPr lang="en-GB" sz="1500" dirty="0"/>
              <a:t> values</a:t>
            </a:r>
          </a:p>
          <a:p>
            <a:pPr>
              <a:defRPr/>
            </a:pPr>
            <a:r>
              <a:rPr lang="en-GB" sz="1500" dirty="0"/>
              <a:t>Those customers have tenure=0 but monthly charges ≠ 0</a:t>
            </a:r>
          </a:p>
          <a:p>
            <a:pPr>
              <a:defRPr/>
            </a:pPr>
            <a:r>
              <a:rPr lang="en-US" sz="1500" dirty="0"/>
              <a:t>We assumed that they </a:t>
            </a:r>
            <a:r>
              <a:rPr lang="en-GB" sz="1500" dirty="0"/>
              <a:t>subscribed to the service on the same month the report was issued, therefore no total charges.</a:t>
            </a:r>
          </a:p>
          <a:p>
            <a:pPr>
              <a:defRPr/>
            </a:pPr>
            <a:r>
              <a:rPr lang="en-GB" sz="1500" dirty="0"/>
              <a:t>Hence, their </a:t>
            </a:r>
            <a:r>
              <a:rPr lang="en-GB" sz="1500" dirty="0" err="1"/>
              <a:t>TotalCharges</a:t>
            </a:r>
            <a:r>
              <a:rPr lang="en-GB" sz="1500" dirty="0"/>
              <a:t> = </a:t>
            </a:r>
            <a:r>
              <a:rPr lang="en-GB" sz="1500" dirty="0" err="1"/>
              <a:t>MonthlyCharges</a:t>
            </a:r>
            <a:r>
              <a:rPr lang="en-GB" sz="1500" dirty="0"/>
              <a:t>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37208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3EBC111-CB5F-CA4F-16C2-2B9F1D76A6BD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Correla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448609-AB17-CAEF-C093-9D6E94ADEA56}"/>
              </a:ext>
            </a:extLst>
          </p:cNvPr>
          <p:cNvSpPr txBox="1"/>
          <p:nvPr/>
        </p:nvSpPr>
        <p:spPr>
          <a:xfrm>
            <a:off x="9173934" y="1327560"/>
            <a:ext cx="2826686" cy="250671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57150" algn="ctr" defTabSz="914400">
              <a:lnSpc>
                <a:spcPct val="90000"/>
              </a:lnSpc>
              <a:spcAft>
                <a:spcPts val="600"/>
              </a:spcAft>
              <a:defRPr sz="1500"/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We can see strong positive correlation between churn to:</a:t>
            </a:r>
          </a:p>
          <a:p>
            <a:pPr marL="34290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Electronic check payment </a:t>
            </a:r>
          </a:p>
          <a:p>
            <a:pPr marL="34290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Fiber optic internet service</a:t>
            </a:r>
          </a:p>
          <a:p>
            <a:pPr marL="34290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No online security service</a:t>
            </a:r>
          </a:p>
          <a:p>
            <a:pPr marL="34290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No tech support</a:t>
            </a:r>
          </a:p>
          <a:p>
            <a:pPr marL="34290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Month-to-month contrac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65D242-1B97-A94D-F822-E1A0678CBB42}"/>
              </a:ext>
            </a:extLst>
          </p:cNvPr>
          <p:cNvSpPr txBox="1"/>
          <p:nvPr/>
        </p:nvSpPr>
        <p:spPr>
          <a:xfrm>
            <a:off x="9173934" y="4838565"/>
            <a:ext cx="2826686" cy="13837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57150" algn="ctr" defTabSz="914400">
              <a:lnSpc>
                <a:spcPct val="90000"/>
              </a:lnSpc>
              <a:spcAft>
                <a:spcPts val="600"/>
              </a:spcAft>
              <a:defRPr sz="1500"/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We can see strong negative correlation between churn to:</a:t>
            </a:r>
          </a:p>
          <a:p>
            <a:pPr marL="34290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2-Year contract</a:t>
            </a:r>
          </a:p>
          <a:p>
            <a:pPr marL="34290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Tenur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236944E-F8CD-4DAC-7DA7-F6DF36437465}"/>
              </a:ext>
            </a:extLst>
          </p:cNvPr>
          <p:cNvGrpSpPr/>
          <p:nvPr/>
        </p:nvGrpSpPr>
        <p:grpSpPr>
          <a:xfrm>
            <a:off x="716536" y="1327560"/>
            <a:ext cx="8130028" cy="5237358"/>
            <a:chOff x="716536" y="1327560"/>
            <a:chExt cx="8130028" cy="5237358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9190159-129E-D4E9-1F69-F97E0471D8E6}"/>
                </a:ext>
              </a:extLst>
            </p:cNvPr>
            <p:cNvGrpSpPr/>
            <p:nvPr/>
          </p:nvGrpSpPr>
          <p:grpSpPr>
            <a:xfrm>
              <a:off x="716536" y="1327560"/>
              <a:ext cx="8130028" cy="5237358"/>
              <a:chOff x="1129286" y="1343160"/>
              <a:chExt cx="8130028" cy="5237358"/>
            </a:xfrm>
          </p:grpSpPr>
          <p:pic>
            <p:nvPicPr>
              <p:cNvPr id="9218" name="Picture 2">
                <a:extLst>
                  <a:ext uri="{FF2B5EF4-FFF2-40B4-BE49-F238E27FC236}">
                    <a16:creationId xmlns:a16="http://schemas.microsoft.com/office/drawing/2014/main" id="{969EF669-8B7A-739D-D1D6-6536848ED4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29286" y="1343160"/>
                <a:ext cx="8130028" cy="5237358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4CA1BDE0-2B7F-90CC-0446-92505CDCCBFD}"/>
                  </a:ext>
                </a:extLst>
              </p:cNvPr>
              <p:cNvSpPr/>
              <p:nvPr/>
            </p:nvSpPr>
            <p:spPr>
              <a:xfrm>
                <a:off x="6007100" y="2254902"/>
                <a:ext cx="3092450" cy="151747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E8495981-854E-538A-41B5-80E2999A5BDD}"/>
                  </a:ext>
                </a:extLst>
              </p:cNvPr>
              <p:cNvSpPr/>
              <p:nvPr/>
            </p:nvSpPr>
            <p:spPr>
              <a:xfrm>
                <a:off x="6007100" y="1485123"/>
                <a:ext cx="3092450" cy="151747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1A591377-753F-8389-D4A2-0CC2559448A6}"/>
                  </a:ext>
                </a:extLst>
              </p:cNvPr>
              <p:cNvSpPr/>
              <p:nvPr/>
            </p:nvSpPr>
            <p:spPr>
              <a:xfrm>
                <a:off x="6007100" y="3251853"/>
                <a:ext cx="3092450" cy="151747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2688F9E3-277D-6907-E8FD-0152D48C05E7}"/>
                  </a:ext>
                </a:extLst>
              </p:cNvPr>
              <p:cNvSpPr/>
              <p:nvPr/>
            </p:nvSpPr>
            <p:spPr>
              <a:xfrm>
                <a:off x="6007100" y="4248804"/>
                <a:ext cx="3092450" cy="151747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6ABA9FF-728F-F40B-EDEE-74968F2F9B68}"/>
                  </a:ext>
                </a:extLst>
              </p:cNvPr>
              <p:cNvSpPr/>
              <p:nvPr/>
            </p:nvSpPr>
            <p:spPr>
              <a:xfrm>
                <a:off x="6007100" y="4470402"/>
                <a:ext cx="3092450" cy="151747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E5A061E-9C51-7CB0-6952-C0EBD23365AD}"/>
                </a:ext>
              </a:extLst>
            </p:cNvPr>
            <p:cNvSpPr/>
            <p:nvPr/>
          </p:nvSpPr>
          <p:spPr>
            <a:xfrm>
              <a:off x="2857500" y="6107825"/>
              <a:ext cx="2736850" cy="151747"/>
            </a:xfrm>
            <a:prstGeom prst="rect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9808A19-28F9-C879-F3D0-A97934384F4C}"/>
                </a:ext>
              </a:extLst>
            </p:cNvPr>
            <p:cNvSpPr/>
            <p:nvPr/>
          </p:nvSpPr>
          <p:spPr>
            <a:xfrm>
              <a:off x="2870200" y="2017704"/>
              <a:ext cx="2736850" cy="151747"/>
            </a:xfrm>
            <a:prstGeom prst="rect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129690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943CAA20-3569-4189-9E48-239A229A86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3D505A8-9206-DFFB-A260-833C3C4B89C1}"/>
              </a:ext>
            </a:extLst>
          </p:cNvPr>
          <p:cNvSpPr txBox="1"/>
          <p:nvPr/>
        </p:nvSpPr>
        <p:spPr>
          <a:xfrm>
            <a:off x="838200" y="451381"/>
            <a:ext cx="10512552" cy="40665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6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ML Algorithms</a:t>
            </a:r>
          </a:p>
        </p:txBody>
      </p:sp>
      <p:sp>
        <p:nvSpPr>
          <p:cNvPr id="15" name="sketch line">
            <a:extLst>
              <a:ext uri="{FF2B5EF4-FFF2-40B4-BE49-F238E27FC236}">
                <a16:creationId xmlns:a16="http://schemas.microsoft.com/office/drawing/2014/main" id="{DA542B6D-E775-4832-91DC-2D20F8578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8200" y="4718595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Analytics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D62FED-997A-9582-B742-27529A4CDB9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775717" y="2591427"/>
            <a:ext cx="2597286" cy="2127168"/>
            <a:chOff x="7169151" y="725488"/>
            <a:chExt cx="885825" cy="725488"/>
          </a:xfrm>
          <a:solidFill>
            <a:schemeClr val="tx1"/>
          </a:solidFill>
        </p:grpSpPr>
        <p:sp>
          <p:nvSpPr>
            <p:cNvPr id="3" name="Freeform 324">
              <a:extLst>
                <a:ext uri="{FF2B5EF4-FFF2-40B4-BE49-F238E27FC236}">
                  <a16:creationId xmlns:a16="http://schemas.microsoft.com/office/drawing/2014/main" id="{9537BC60-FA89-F9A6-A6F7-3FE9F2CF8F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7788" y="901701"/>
              <a:ext cx="127000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8" y="53"/>
                    <a:pt x="53" y="48"/>
                    <a:pt x="53" y="41"/>
                  </a:cubicBezTo>
                  <a:cubicBezTo>
                    <a:pt x="53" y="35"/>
                    <a:pt x="48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9" y="82"/>
                    <a:pt x="0" y="64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64"/>
                    <a:pt x="64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" name="Freeform 325">
              <a:extLst>
                <a:ext uri="{FF2B5EF4-FFF2-40B4-BE49-F238E27FC236}">
                  <a16:creationId xmlns:a16="http://schemas.microsoft.com/office/drawing/2014/main" id="{461E2058-BA88-FE9E-99BE-E85BB0C0F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76" y="725488"/>
              <a:ext cx="101600" cy="98425"/>
            </a:xfrm>
            <a:custGeom>
              <a:avLst/>
              <a:gdLst>
                <a:gd name="T0" fmla="*/ 55 w 65"/>
                <a:gd name="T1" fmla="*/ 57 h 63"/>
                <a:gd name="T2" fmla="*/ 64 w 65"/>
                <a:gd name="T3" fmla="*/ 6 h 63"/>
                <a:gd name="T4" fmla="*/ 58 w 65"/>
                <a:gd name="T5" fmla="*/ 0 h 63"/>
                <a:gd name="T6" fmla="*/ 7 w 65"/>
                <a:gd name="T7" fmla="*/ 1 h 63"/>
                <a:gd name="T8" fmla="*/ 3 w 65"/>
                <a:gd name="T9" fmla="*/ 10 h 63"/>
                <a:gd name="T10" fmla="*/ 45 w 65"/>
                <a:gd name="T11" fmla="*/ 60 h 63"/>
                <a:gd name="T12" fmla="*/ 55 w 65"/>
                <a:gd name="T13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3">
                  <a:moveTo>
                    <a:pt x="55" y="57"/>
                  </a:moveTo>
                  <a:lnTo>
                    <a:pt x="64" y="6"/>
                  </a:lnTo>
                  <a:cubicBezTo>
                    <a:pt x="65" y="3"/>
                    <a:pt x="62" y="0"/>
                    <a:pt x="58" y="0"/>
                  </a:cubicBezTo>
                  <a:lnTo>
                    <a:pt x="7" y="1"/>
                  </a:lnTo>
                  <a:cubicBezTo>
                    <a:pt x="2" y="1"/>
                    <a:pt x="0" y="6"/>
                    <a:pt x="3" y="10"/>
                  </a:cubicBezTo>
                  <a:lnTo>
                    <a:pt x="45" y="60"/>
                  </a:lnTo>
                  <a:cubicBezTo>
                    <a:pt x="48" y="63"/>
                    <a:pt x="54" y="62"/>
                    <a:pt x="55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" name="Freeform 326">
              <a:extLst>
                <a:ext uri="{FF2B5EF4-FFF2-40B4-BE49-F238E27FC236}">
                  <a16:creationId xmlns:a16="http://schemas.microsoft.com/office/drawing/2014/main" id="{7CA71E3C-8DE1-720D-AD75-67E09D100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1" y="738188"/>
              <a:ext cx="255588" cy="219075"/>
            </a:xfrm>
            <a:custGeom>
              <a:avLst/>
              <a:gdLst>
                <a:gd name="T0" fmla="*/ 18 w 161"/>
                <a:gd name="T1" fmla="*/ 138 h 138"/>
                <a:gd name="T2" fmla="*/ 0 w 161"/>
                <a:gd name="T3" fmla="*/ 116 h 138"/>
                <a:gd name="T4" fmla="*/ 143 w 161"/>
                <a:gd name="T5" fmla="*/ 0 h 138"/>
                <a:gd name="T6" fmla="*/ 161 w 161"/>
                <a:gd name="T7" fmla="*/ 22 h 138"/>
                <a:gd name="T8" fmla="*/ 18 w 161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38">
                  <a:moveTo>
                    <a:pt x="18" y="138"/>
                  </a:moveTo>
                  <a:lnTo>
                    <a:pt x="0" y="116"/>
                  </a:lnTo>
                  <a:lnTo>
                    <a:pt x="143" y="0"/>
                  </a:lnTo>
                  <a:lnTo>
                    <a:pt x="161" y="22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" name="Freeform 327">
              <a:extLst>
                <a:ext uri="{FF2B5EF4-FFF2-40B4-BE49-F238E27FC236}">
                  <a16:creationId xmlns:a16="http://schemas.microsoft.com/office/drawing/2014/main" id="{1E57D5B6-474D-7687-E789-933E2FBD0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126" y="804863"/>
              <a:ext cx="257175" cy="163513"/>
            </a:xfrm>
            <a:custGeom>
              <a:avLst/>
              <a:gdLst>
                <a:gd name="T0" fmla="*/ 150 w 162"/>
                <a:gd name="T1" fmla="*/ 103 h 103"/>
                <a:gd name="T2" fmla="*/ 0 w 162"/>
                <a:gd name="T3" fmla="*/ 25 h 103"/>
                <a:gd name="T4" fmla="*/ 13 w 162"/>
                <a:gd name="T5" fmla="*/ 0 h 103"/>
                <a:gd name="T6" fmla="*/ 162 w 162"/>
                <a:gd name="T7" fmla="*/ 77 h 103"/>
                <a:gd name="T8" fmla="*/ 150 w 162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03">
                  <a:moveTo>
                    <a:pt x="150" y="103"/>
                  </a:moveTo>
                  <a:lnTo>
                    <a:pt x="0" y="25"/>
                  </a:lnTo>
                  <a:lnTo>
                    <a:pt x="13" y="0"/>
                  </a:lnTo>
                  <a:lnTo>
                    <a:pt x="162" y="77"/>
                  </a:lnTo>
                  <a:lnTo>
                    <a:pt x="150" y="10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" name="Freeform 328">
              <a:extLst>
                <a:ext uri="{FF2B5EF4-FFF2-40B4-BE49-F238E27FC236}">
                  <a16:creationId xmlns:a16="http://schemas.microsoft.com/office/drawing/2014/main" id="{2293DC23-A752-C765-A4EB-F8ACDC8FBD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6638" y="741363"/>
              <a:ext cx="128588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7" y="53"/>
                    <a:pt x="53" y="48"/>
                    <a:pt x="53" y="41"/>
                  </a:cubicBezTo>
                  <a:cubicBezTo>
                    <a:pt x="53" y="35"/>
                    <a:pt x="47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8" y="82"/>
                    <a:pt x="0" y="64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64"/>
                    <a:pt x="63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29">
              <a:extLst>
                <a:ext uri="{FF2B5EF4-FFF2-40B4-BE49-F238E27FC236}">
                  <a16:creationId xmlns:a16="http://schemas.microsoft.com/office/drawing/2014/main" id="{D64CD8DB-ACAD-9942-FB22-23314775F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9638" y="815976"/>
              <a:ext cx="174625" cy="136525"/>
            </a:xfrm>
            <a:custGeom>
              <a:avLst/>
              <a:gdLst>
                <a:gd name="T0" fmla="*/ 14 w 110"/>
                <a:gd name="T1" fmla="*/ 86 h 86"/>
                <a:gd name="T2" fmla="*/ 0 w 110"/>
                <a:gd name="T3" fmla="*/ 62 h 86"/>
                <a:gd name="T4" fmla="*/ 94 w 110"/>
                <a:gd name="T5" fmla="*/ 0 h 86"/>
                <a:gd name="T6" fmla="*/ 110 w 110"/>
                <a:gd name="T7" fmla="*/ 24 h 86"/>
                <a:gd name="T8" fmla="*/ 14 w 11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86">
                  <a:moveTo>
                    <a:pt x="14" y="86"/>
                  </a:moveTo>
                  <a:lnTo>
                    <a:pt x="0" y="62"/>
                  </a:lnTo>
                  <a:lnTo>
                    <a:pt x="94" y="0"/>
                  </a:lnTo>
                  <a:lnTo>
                    <a:pt x="110" y="24"/>
                  </a:lnTo>
                  <a:lnTo>
                    <a:pt x="14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30">
              <a:extLst>
                <a:ext uri="{FF2B5EF4-FFF2-40B4-BE49-F238E27FC236}">
                  <a16:creationId xmlns:a16="http://schemas.microsoft.com/office/drawing/2014/main" id="{37BA34B8-94E0-908D-8029-9A4F3A508C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9151" y="893763"/>
              <a:ext cx="127000" cy="127000"/>
            </a:xfrm>
            <a:custGeom>
              <a:avLst/>
              <a:gdLst>
                <a:gd name="T0" fmla="*/ 41 w 82"/>
                <a:gd name="T1" fmla="*/ 28 h 81"/>
                <a:gd name="T2" fmla="*/ 29 w 82"/>
                <a:gd name="T3" fmla="*/ 40 h 81"/>
                <a:gd name="T4" fmla="*/ 41 w 82"/>
                <a:gd name="T5" fmla="*/ 52 h 81"/>
                <a:gd name="T6" fmla="*/ 53 w 82"/>
                <a:gd name="T7" fmla="*/ 40 h 81"/>
                <a:gd name="T8" fmla="*/ 41 w 82"/>
                <a:gd name="T9" fmla="*/ 28 h 81"/>
                <a:gd name="T10" fmla="*/ 41 w 82"/>
                <a:gd name="T11" fmla="*/ 81 h 81"/>
                <a:gd name="T12" fmla="*/ 0 w 82"/>
                <a:gd name="T13" fmla="*/ 40 h 81"/>
                <a:gd name="T14" fmla="*/ 41 w 82"/>
                <a:gd name="T15" fmla="*/ 0 h 81"/>
                <a:gd name="T16" fmla="*/ 82 w 82"/>
                <a:gd name="T17" fmla="*/ 40 h 81"/>
                <a:gd name="T18" fmla="*/ 41 w 82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1">
                  <a:moveTo>
                    <a:pt x="41" y="28"/>
                  </a:moveTo>
                  <a:cubicBezTo>
                    <a:pt x="35" y="28"/>
                    <a:pt x="29" y="34"/>
                    <a:pt x="29" y="40"/>
                  </a:cubicBezTo>
                  <a:cubicBezTo>
                    <a:pt x="29" y="47"/>
                    <a:pt x="35" y="52"/>
                    <a:pt x="41" y="52"/>
                  </a:cubicBezTo>
                  <a:cubicBezTo>
                    <a:pt x="48" y="52"/>
                    <a:pt x="53" y="47"/>
                    <a:pt x="53" y="40"/>
                  </a:cubicBezTo>
                  <a:cubicBezTo>
                    <a:pt x="53" y="34"/>
                    <a:pt x="48" y="28"/>
                    <a:pt x="41" y="28"/>
                  </a:cubicBezTo>
                  <a:close/>
                  <a:moveTo>
                    <a:pt x="41" y="81"/>
                  </a:moveTo>
                  <a:cubicBezTo>
                    <a:pt x="19" y="81"/>
                    <a:pt x="0" y="63"/>
                    <a:pt x="0" y="40"/>
                  </a:cubicBezTo>
                  <a:cubicBezTo>
                    <a:pt x="0" y="18"/>
                    <a:pt x="19" y="0"/>
                    <a:pt x="41" y="0"/>
                  </a:cubicBezTo>
                  <a:cubicBezTo>
                    <a:pt x="64" y="0"/>
                    <a:pt x="82" y="18"/>
                    <a:pt x="82" y="40"/>
                  </a:cubicBezTo>
                  <a:cubicBezTo>
                    <a:pt x="82" y="63"/>
                    <a:pt x="64" y="81"/>
                    <a:pt x="41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31">
              <a:extLst>
                <a:ext uri="{FF2B5EF4-FFF2-40B4-BE49-F238E27FC236}">
                  <a16:creationId xmlns:a16="http://schemas.microsoft.com/office/drawing/2014/main" id="{2BE9D200-C94B-85A8-EB76-43813FED5E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78726" y="784226"/>
              <a:ext cx="363538" cy="347663"/>
            </a:xfrm>
            <a:custGeom>
              <a:avLst/>
              <a:gdLst>
                <a:gd name="T0" fmla="*/ 117 w 233"/>
                <a:gd name="T1" fmla="*/ 37 h 223"/>
                <a:gd name="T2" fmla="*/ 61 w 233"/>
                <a:gd name="T3" fmla="*/ 60 h 223"/>
                <a:gd name="T4" fmla="*/ 61 w 233"/>
                <a:gd name="T5" fmla="*/ 173 h 223"/>
                <a:gd name="T6" fmla="*/ 173 w 233"/>
                <a:gd name="T7" fmla="*/ 173 h 223"/>
                <a:gd name="T8" fmla="*/ 173 w 233"/>
                <a:gd name="T9" fmla="*/ 60 h 223"/>
                <a:gd name="T10" fmla="*/ 117 w 233"/>
                <a:gd name="T11" fmla="*/ 37 h 223"/>
                <a:gd name="T12" fmla="*/ 117 w 233"/>
                <a:gd name="T13" fmla="*/ 223 h 223"/>
                <a:gd name="T14" fmla="*/ 42 w 233"/>
                <a:gd name="T15" fmla="*/ 192 h 223"/>
                <a:gd name="T16" fmla="*/ 42 w 233"/>
                <a:gd name="T17" fmla="*/ 41 h 223"/>
                <a:gd name="T18" fmla="*/ 192 w 233"/>
                <a:gd name="T19" fmla="*/ 41 h 223"/>
                <a:gd name="T20" fmla="*/ 192 w 233"/>
                <a:gd name="T21" fmla="*/ 192 h 223"/>
                <a:gd name="T22" fmla="*/ 117 w 233"/>
                <a:gd name="T23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3" h="223">
                  <a:moveTo>
                    <a:pt x="117" y="37"/>
                  </a:moveTo>
                  <a:cubicBezTo>
                    <a:pt x="96" y="37"/>
                    <a:pt x="76" y="45"/>
                    <a:pt x="61" y="60"/>
                  </a:cubicBezTo>
                  <a:cubicBezTo>
                    <a:pt x="30" y="91"/>
                    <a:pt x="30" y="142"/>
                    <a:pt x="61" y="173"/>
                  </a:cubicBezTo>
                  <a:cubicBezTo>
                    <a:pt x="92" y="204"/>
                    <a:pt x="142" y="204"/>
                    <a:pt x="173" y="173"/>
                  </a:cubicBezTo>
                  <a:cubicBezTo>
                    <a:pt x="204" y="142"/>
                    <a:pt x="204" y="91"/>
                    <a:pt x="173" y="60"/>
                  </a:cubicBezTo>
                  <a:cubicBezTo>
                    <a:pt x="157" y="45"/>
                    <a:pt x="137" y="37"/>
                    <a:pt x="117" y="37"/>
                  </a:cubicBezTo>
                  <a:close/>
                  <a:moveTo>
                    <a:pt x="117" y="223"/>
                  </a:moveTo>
                  <a:cubicBezTo>
                    <a:pt x="90" y="223"/>
                    <a:pt x="62" y="213"/>
                    <a:pt x="42" y="192"/>
                  </a:cubicBezTo>
                  <a:cubicBezTo>
                    <a:pt x="0" y="150"/>
                    <a:pt x="0" y="83"/>
                    <a:pt x="42" y="41"/>
                  </a:cubicBezTo>
                  <a:cubicBezTo>
                    <a:pt x="83" y="0"/>
                    <a:pt x="150" y="0"/>
                    <a:pt x="192" y="41"/>
                  </a:cubicBezTo>
                  <a:cubicBezTo>
                    <a:pt x="233" y="83"/>
                    <a:pt x="233" y="150"/>
                    <a:pt x="192" y="192"/>
                  </a:cubicBezTo>
                  <a:cubicBezTo>
                    <a:pt x="171" y="213"/>
                    <a:pt x="144" y="223"/>
                    <a:pt x="117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32">
              <a:extLst>
                <a:ext uri="{FF2B5EF4-FFF2-40B4-BE49-F238E27FC236}">
                  <a16:creationId xmlns:a16="http://schemas.microsoft.com/office/drawing/2014/main" id="{C0F4821B-DE24-6235-A9AF-5A35F7CFD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0663" y="1046163"/>
              <a:ext cx="196850" cy="196850"/>
            </a:xfrm>
            <a:custGeom>
              <a:avLst/>
              <a:gdLst>
                <a:gd name="T0" fmla="*/ 89 w 126"/>
                <a:gd name="T1" fmla="*/ 118 h 126"/>
                <a:gd name="T2" fmla="*/ 0 w 126"/>
                <a:gd name="T3" fmla="*/ 29 h 126"/>
                <a:gd name="T4" fmla="*/ 29 w 126"/>
                <a:gd name="T5" fmla="*/ 0 h 126"/>
                <a:gd name="T6" fmla="*/ 118 w 126"/>
                <a:gd name="T7" fmla="*/ 89 h 126"/>
                <a:gd name="T8" fmla="*/ 118 w 126"/>
                <a:gd name="T9" fmla="*/ 118 h 126"/>
                <a:gd name="T10" fmla="*/ 118 w 126"/>
                <a:gd name="T11" fmla="*/ 118 h 126"/>
                <a:gd name="T12" fmla="*/ 89 w 126"/>
                <a:gd name="T13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6">
                  <a:moveTo>
                    <a:pt x="89" y="118"/>
                  </a:moveTo>
                  <a:lnTo>
                    <a:pt x="0" y="29"/>
                  </a:lnTo>
                  <a:lnTo>
                    <a:pt x="29" y="0"/>
                  </a:lnTo>
                  <a:lnTo>
                    <a:pt x="118" y="89"/>
                  </a:lnTo>
                  <a:cubicBezTo>
                    <a:pt x="126" y="97"/>
                    <a:pt x="126" y="110"/>
                    <a:pt x="118" y="118"/>
                  </a:cubicBezTo>
                  <a:lnTo>
                    <a:pt x="118" y="118"/>
                  </a:lnTo>
                  <a:cubicBezTo>
                    <a:pt x="110" y="126"/>
                    <a:pt x="97" y="126"/>
                    <a:pt x="89" y="1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33">
              <a:extLst>
                <a:ext uri="{FF2B5EF4-FFF2-40B4-BE49-F238E27FC236}">
                  <a16:creationId xmlns:a16="http://schemas.microsoft.com/office/drawing/2014/main" id="{A9A2F405-9287-293F-938A-108858BBB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5663" y="1408113"/>
              <a:ext cx="774700" cy="42863"/>
            </a:xfrm>
            <a:custGeom>
              <a:avLst/>
              <a:gdLst>
                <a:gd name="T0" fmla="*/ 482 w 496"/>
                <a:gd name="T1" fmla="*/ 27 h 27"/>
                <a:gd name="T2" fmla="*/ 13 w 496"/>
                <a:gd name="T3" fmla="*/ 27 h 27"/>
                <a:gd name="T4" fmla="*/ 0 w 496"/>
                <a:gd name="T5" fmla="*/ 13 h 27"/>
                <a:gd name="T6" fmla="*/ 0 w 496"/>
                <a:gd name="T7" fmla="*/ 13 h 27"/>
                <a:gd name="T8" fmla="*/ 13 w 496"/>
                <a:gd name="T9" fmla="*/ 0 h 27"/>
                <a:gd name="T10" fmla="*/ 482 w 496"/>
                <a:gd name="T11" fmla="*/ 0 h 27"/>
                <a:gd name="T12" fmla="*/ 496 w 496"/>
                <a:gd name="T13" fmla="*/ 13 h 27"/>
                <a:gd name="T14" fmla="*/ 496 w 496"/>
                <a:gd name="T15" fmla="*/ 13 h 27"/>
                <a:gd name="T16" fmla="*/ 482 w 49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6" h="27">
                  <a:moveTo>
                    <a:pt x="482" y="27"/>
                  </a:moveTo>
                  <a:lnTo>
                    <a:pt x="13" y="27"/>
                  </a:lnTo>
                  <a:cubicBezTo>
                    <a:pt x="6" y="27"/>
                    <a:pt x="0" y="21"/>
                    <a:pt x="0" y="13"/>
                  </a:cubicBezTo>
                  <a:lnTo>
                    <a:pt x="0" y="13"/>
                  </a:lnTo>
                  <a:cubicBezTo>
                    <a:pt x="0" y="6"/>
                    <a:pt x="6" y="0"/>
                    <a:pt x="13" y="0"/>
                  </a:cubicBezTo>
                  <a:lnTo>
                    <a:pt x="482" y="0"/>
                  </a:lnTo>
                  <a:cubicBezTo>
                    <a:pt x="490" y="0"/>
                    <a:pt x="496" y="6"/>
                    <a:pt x="496" y="13"/>
                  </a:cubicBezTo>
                  <a:lnTo>
                    <a:pt x="496" y="13"/>
                  </a:lnTo>
                  <a:cubicBezTo>
                    <a:pt x="496" y="21"/>
                    <a:pt x="490" y="27"/>
                    <a:pt x="482" y="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34">
              <a:extLst>
                <a:ext uri="{FF2B5EF4-FFF2-40B4-BE49-F238E27FC236}">
                  <a16:creationId xmlns:a16="http://schemas.microsoft.com/office/drawing/2014/main" id="{9115CB62-8208-F151-828E-A1369DD88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538" y="1066801"/>
              <a:ext cx="93663" cy="307975"/>
            </a:xfrm>
            <a:custGeom>
              <a:avLst/>
              <a:gdLst>
                <a:gd name="T0" fmla="*/ 48 w 60"/>
                <a:gd name="T1" fmla="*/ 0 h 198"/>
                <a:gd name="T2" fmla="*/ 12 w 60"/>
                <a:gd name="T3" fmla="*/ 0 h 198"/>
                <a:gd name="T4" fmla="*/ 0 w 60"/>
                <a:gd name="T5" fmla="*/ 12 h 198"/>
                <a:gd name="T6" fmla="*/ 0 w 60"/>
                <a:gd name="T7" fmla="*/ 187 h 198"/>
                <a:gd name="T8" fmla="*/ 12 w 60"/>
                <a:gd name="T9" fmla="*/ 198 h 198"/>
                <a:gd name="T10" fmla="*/ 48 w 60"/>
                <a:gd name="T11" fmla="*/ 198 h 198"/>
                <a:gd name="T12" fmla="*/ 60 w 60"/>
                <a:gd name="T13" fmla="*/ 187 h 198"/>
                <a:gd name="T14" fmla="*/ 60 w 60"/>
                <a:gd name="T15" fmla="*/ 12 h 198"/>
                <a:gd name="T16" fmla="*/ 48 w 60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5" y="198"/>
                    <a:pt x="60" y="193"/>
                    <a:pt x="60" y="187"/>
                  </a:cubicBezTo>
                  <a:lnTo>
                    <a:pt x="60" y="12"/>
                  </a:lnTo>
                  <a:cubicBezTo>
                    <a:pt x="60" y="6"/>
                    <a:pt x="55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35">
              <a:extLst>
                <a:ext uri="{FF2B5EF4-FFF2-40B4-BE49-F238E27FC236}">
                  <a16:creationId xmlns:a16="http://schemas.microsoft.com/office/drawing/2014/main" id="{CC3A7628-65E3-CF61-A9C5-D0F11D455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1009651"/>
              <a:ext cx="93663" cy="365125"/>
            </a:xfrm>
            <a:custGeom>
              <a:avLst/>
              <a:gdLst>
                <a:gd name="T0" fmla="*/ 48 w 60"/>
                <a:gd name="T1" fmla="*/ 0 h 234"/>
                <a:gd name="T2" fmla="*/ 12 w 60"/>
                <a:gd name="T3" fmla="*/ 0 h 234"/>
                <a:gd name="T4" fmla="*/ 0 w 60"/>
                <a:gd name="T5" fmla="*/ 12 h 234"/>
                <a:gd name="T6" fmla="*/ 0 w 60"/>
                <a:gd name="T7" fmla="*/ 223 h 234"/>
                <a:gd name="T8" fmla="*/ 12 w 60"/>
                <a:gd name="T9" fmla="*/ 234 h 234"/>
                <a:gd name="T10" fmla="*/ 48 w 60"/>
                <a:gd name="T11" fmla="*/ 234 h 234"/>
                <a:gd name="T12" fmla="*/ 60 w 60"/>
                <a:gd name="T13" fmla="*/ 223 h 234"/>
                <a:gd name="T14" fmla="*/ 60 w 60"/>
                <a:gd name="T15" fmla="*/ 12 h 234"/>
                <a:gd name="T16" fmla="*/ 48 w 60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234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223"/>
                  </a:lnTo>
                  <a:cubicBezTo>
                    <a:pt x="0" y="229"/>
                    <a:pt x="5" y="234"/>
                    <a:pt x="12" y="234"/>
                  </a:cubicBezTo>
                  <a:lnTo>
                    <a:pt x="48" y="234"/>
                  </a:lnTo>
                  <a:cubicBezTo>
                    <a:pt x="54" y="234"/>
                    <a:pt x="60" y="229"/>
                    <a:pt x="60" y="223"/>
                  </a:cubicBezTo>
                  <a:lnTo>
                    <a:pt x="60" y="12"/>
                  </a:lnTo>
                  <a:cubicBezTo>
                    <a:pt x="60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36">
              <a:extLst>
                <a:ext uri="{FF2B5EF4-FFF2-40B4-BE49-F238E27FC236}">
                  <a16:creationId xmlns:a16="http://schemas.microsoft.com/office/drawing/2014/main" id="{07DF7F81-2AA0-BA86-569B-5D466FCCA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301" y="1066801"/>
              <a:ext cx="92075" cy="307975"/>
            </a:xfrm>
            <a:custGeom>
              <a:avLst/>
              <a:gdLst>
                <a:gd name="T0" fmla="*/ 48 w 59"/>
                <a:gd name="T1" fmla="*/ 0 h 198"/>
                <a:gd name="T2" fmla="*/ 12 w 59"/>
                <a:gd name="T3" fmla="*/ 0 h 198"/>
                <a:gd name="T4" fmla="*/ 0 w 59"/>
                <a:gd name="T5" fmla="*/ 12 h 198"/>
                <a:gd name="T6" fmla="*/ 0 w 59"/>
                <a:gd name="T7" fmla="*/ 187 h 198"/>
                <a:gd name="T8" fmla="*/ 12 w 59"/>
                <a:gd name="T9" fmla="*/ 198 h 198"/>
                <a:gd name="T10" fmla="*/ 48 w 59"/>
                <a:gd name="T11" fmla="*/ 198 h 198"/>
                <a:gd name="T12" fmla="*/ 59 w 59"/>
                <a:gd name="T13" fmla="*/ 187 h 198"/>
                <a:gd name="T14" fmla="*/ 59 w 59"/>
                <a:gd name="T15" fmla="*/ 12 h 198"/>
                <a:gd name="T16" fmla="*/ 48 w 59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4" y="198"/>
                    <a:pt x="59" y="193"/>
                    <a:pt x="59" y="187"/>
                  </a:cubicBezTo>
                  <a:lnTo>
                    <a:pt x="59" y="12"/>
                  </a:lnTo>
                  <a:cubicBezTo>
                    <a:pt x="59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337">
              <a:extLst>
                <a:ext uri="{FF2B5EF4-FFF2-40B4-BE49-F238E27FC236}">
                  <a16:creationId xmlns:a16="http://schemas.microsoft.com/office/drawing/2014/main" id="{751572BD-E54D-7961-AC05-14CE9DE4B6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0476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338">
              <a:extLst>
                <a:ext uri="{FF2B5EF4-FFF2-40B4-BE49-F238E27FC236}">
                  <a16:creationId xmlns:a16="http://schemas.microsoft.com/office/drawing/2014/main" id="{170BA44E-9286-4A70-4015-D13B58AA1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063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339">
              <a:extLst>
                <a:ext uri="{FF2B5EF4-FFF2-40B4-BE49-F238E27FC236}">
                  <a16:creationId xmlns:a16="http://schemas.microsoft.com/office/drawing/2014/main" id="{32C28913-0A3B-A63A-7F7F-4CD04D6B2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1249363"/>
              <a:ext cx="92075" cy="125413"/>
            </a:xfrm>
            <a:custGeom>
              <a:avLst/>
              <a:gdLst>
                <a:gd name="T0" fmla="*/ 48 w 59"/>
                <a:gd name="T1" fmla="*/ 0 h 81"/>
                <a:gd name="T2" fmla="*/ 11 w 59"/>
                <a:gd name="T3" fmla="*/ 0 h 81"/>
                <a:gd name="T4" fmla="*/ 0 w 59"/>
                <a:gd name="T5" fmla="*/ 11 h 81"/>
                <a:gd name="T6" fmla="*/ 0 w 59"/>
                <a:gd name="T7" fmla="*/ 70 h 81"/>
                <a:gd name="T8" fmla="*/ 11 w 59"/>
                <a:gd name="T9" fmla="*/ 81 h 81"/>
                <a:gd name="T10" fmla="*/ 48 w 59"/>
                <a:gd name="T11" fmla="*/ 81 h 81"/>
                <a:gd name="T12" fmla="*/ 59 w 59"/>
                <a:gd name="T13" fmla="*/ 70 h 81"/>
                <a:gd name="T14" fmla="*/ 59 w 59"/>
                <a:gd name="T15" fmla="*/ 11 h 81"/>
                <a:gd name="T16" fmla="*/ 48 w 59"/>
                <a:gd name="T1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1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70"/>
                  </a:lnTo>
                  <a:cubicBezTo>
                    <a:pt x="0" y="76"/>
                    <a:pt x="5" y="81"/>
                    <a:pt x="11" y="81"/>
                  </a:cubicBezTo>
                  <a:lnTo>
                    <a:pt x="48" y="81"/>
                  </a:lnTo>
                  <a:cubicBezTo>
                    <a:pt x="54" y="81"/>
                    <a:pt x="59" y="76"/>
                    <a:pt x="59" y="70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3978029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3EBC111-CB5F-CA4F-16C2-2B9F1D76A6BD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ML Algorithms</a:t>
            </a:r>
          </a:p>
        </p:txBody>
      </p:sp>
      <p:sp>
        <p:nvSpPr>
          <p:cNvPr id="14" name="TextBox 82">
            <a:extLst>
              <a:ext uri="{FF2B5EF4-FFF2-40B4-BE49-F238E27FC236}">
                <a16:creationId xmlns:a16="http://schemas.microsoft.com/office/drawing/2014/main" id="{B81F5758-BDC2-1444-1DDD-FF59453D97E2}"/>
              </a:ext>
            </a:extLst>
          </p:cNvPr>
          <p:cNvSpPr txBox="1"/>
          <p:nvPr/>
        </p:nvSpPr>
        <p:spPr>
          <a:xfrm>
            <a:off x="1188533" y="969635"/>
            <a:ext cx="10377992" cy="230832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800" kern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+mn-ea"/>
                <a:cs typeface="+mn-cs"/>
              </a:rPr>
              <a:t>Dataset was </a:t>
            </a: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divided into 80/20 ratio – 5636 rows for train set and 1408 for test se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We used 3 algorithms: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Decision tree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Random Forest 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K nearest neighbors</a:t>
            </a:r>
          </a:p>
          <a:p>
            <a:pPr lvl="1">
              <a:defRPr/>
            </a:pPr>
            <a:endParaRPr lang="en-GB" dirty="0">
              <a:solidFill>
                <a:srgbClr val="000000"/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Each of them was optimized (max depth, max depth and N estimators, K vales) to find the best accuracy and compared with benchmark  </a:t>
            </a:r>
          </a:p>
        </p:txBody>
      </p:sp>
    </p:spTree>
    <p:extLst>
      <p:ext uri="{BB962C8B-B14F-4D97-AF65-F5344CB8AC3E}">
        <p14:creationId xmlns:p14="http://schemas.microsoft.com/office/powerpoint/2010/main" val="36320292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FD87E-33FF-2EDB-4330-CFC172B603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8882" y="639193"/>
            <a:ext cx="3571810" cy="3573516"/>
          </a:xfrm>
        </p:spPr>
        <p:txBody>
          <a:bodyPr>
            <a:normAutofit/>
          </a:bodyPr>
          <a:lstStyle/>
          <a:p>
            <a:pPr algn="l"/>
            <a:r>
              <a:rPr lang="en-US" sz="6600" dirty="0">
                <a:ln w="22225">
                  <a:solidFill>
                    <a:schemeClr val="tx1"/>
                  </a:solidFill>
                  <a:miter lim="800000"/>
                </a:ln>
              </a:rPr>
              <a:t>Team</a:t>
            </a:r>
            <a:endParaRPr lang="en-GB" sz="6600" dirty="0">
              <a:ln w="22225">
                <a:solidFill>
                  <a:schemeClr val="tx1"/>
                </a:solidFill>
                <a:miter lim="800000"/>
              </a:ln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C4611D-3577-FE5B-D51A-857F3E526CBE}"/>
              </a:ext>
            </a:extLst>
          </p:cNvPr>
          <p:cNvSpPr txBox="1"/>
          <p:nvPr/>
        </p:nvSpPr>
        <p:spPr>
          <a:xfrm>
            <a:off x="8001014" y="4967196"/>
            <a:ext cx="3327223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</a:rPr>
              <a:t>Gil </a:t>
            </a:r>
            <a:r>
              <a:rPr kumimoji="0" lang="en-GB" sz="3200" b="1" i="0" u="none" strike="noStrike" kern="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</a:rPr>
              <a:t>Hadar</a:t>
            </a:r>
            <a:endParaRPr kumimoji="0" lang="en-GB" sz="3200" b="0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25BC04-3E7A-2F14-597C-7766456E2F83}"/>
              </a:ext>
            </a:extLst>
          </p:cNvPr>
          <p:cNvSpPr txBox="1"/>
          <p:nvPr/>
        </p:nvSpPr>
        <p:spPr>
          <a:xfrm>
            <a:off x="4328901" y="4967195"/>
            <a:ext cx="3327223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Liraz</a:t>
            </a:r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 </a:t>
            </a:r>
            <a:r>
              <a:rPr kumimoji="0" lang="en-GB" sz="3200" b="1" i="0" u="none" strike="noStrike" kern="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Sofer</a:t>
            </a:r>
            <a:endParaRPr kumimoji="0" lang="en-GB" sz="32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025303E-FC0D-C4E8-D01C-502AF7A358BE}"/>
              </a:ext>
            </a:extLst>
          </p:cNvPr>
          <p:cNvSpPr>
            <a:spLocks noChangeAspect="1"/>
          </p:cNvSpPr>
          <p:nvPr/>
        </p:nvSpPr>
        <p:spPr>
          <a:xfrm>
            <a:off x="4914633" y="2022269"/>
            <a:ext cx="2608892" cy="2608892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3CF1561-CE1C-AFC2-20FA-AC7752980F47}"/>
              </a:ext>
            </a:extLst>
          </p:cNvPr>
          <p:cNvSpPr>
            <a:spLocks noChangeAspect="1"/>
          </p:cNvSpPr>
          <p:nvPr/>
        </p:nvSpPr>
        <p:spPr>
          <a:xfrm>
            <a:off x="8561348" y="2022269"/>
            <a:ext cx="2608892" cy="2608892"/>
          </a:xfrm>
          <a:prstGeom prst="ellipse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377194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3EBC111-CB5F-CA4F-16C2-2B9F1D76A6BD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Decision Tre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23DB0E-46EE-ECBB-D6FB-0C1B4677919D}"/>
              </a:ext>
            </a:extLst>
          </p:cNvPr>
          <p:cNvSpPr txBox="1"/>
          <p:nvPr/>
        </p:nvSpPr>
        <p:spPr>
          <a:xfrm>
            <a:off x="3702049" y="5823412"/>
            <a:ext cx="4044951" cy="58477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1600" dirty="0"/>
              <a:t>Best Accuracy: 0.7876420454545454</a:t>
            </a:r>
          </a:p>
          <a:p>
            <a:pPr algn="ctr"/>
            <a:r>
              <a:rPr lang="en-GB" sz="1600" dirty="0"/>
              <a:t>Best </a:t>
            </a:r>
            <a:r>
              <a:rPr lang="en-GB" sz="1600" dirty="0" err="1"/>
              <a:t>max_depth</a:t>
            </a:r>
            <a:r>
              <a:rPr lang="en-GB" sz="1600" dirty="0"/>
              <a:t>: 5.0</a:t>
            </a:r>
          </a:p>
        </p:txBody>
      </p:sp>
      <p:sp>
        <p:nvSpPr>
          <p:cNvPr id="8" name="TextBox 82">
            <a:extLst>
              <a:ext uri="{FF2B5EF4-FFF2-40B4-BE49-F238E27FC236}">
                <a16:creationId xmlns:a16="http://schemas.microsoft.com/office/drawing/2014/main" id="{9DCCF2BD-E636-3D71-BD7D-26881E4D6C1D}"/>
              </a:ext>
            </a:extLst>
          </p:cNvPr>
          <p:cNvSpPr txBox="1"/>
          <p:nvPr/>
        </p:nvSpPr>
        <p:spPr>
          <a:xfrm>
            <a:off x="1028700" y="930558"/>
            <a:ext cx="10299701" cy="56938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>
              <a:defRPr/>
            </a:pPr>
            <a:r>
              <a:rPr lang="en-US" sz="1500" kern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+mn-ea"/>
                <a:cs typeface="+mn-cs"/>
              </a:rPr>
              <a:t>Dataset was </a:t>
            </a:r>
            <a:r>
              <a:rPr lang="en-US" sz="1500" dirty="0">
                <a:solidFill>
                  <a:srgbClr val="000000"/>
                </a:solidFill>
                <a:latin typeface="Aptos" panose="020B0004020202020204" pitchFamily="34" charset="0"/>
              </a:rPr>
              <a:t>divided into 80/20 ratio – 5636 rows for train set and 1408 for test set</a:t>
            </a:r>
            <a:endParaRPr lang="en-US" sz="1500" kern="1200" dirty="0">
              <a:solidFill>
                <a:srgbClr val="000000"/>
              </a:solidFill>
              <a:effectLst/>
              <a:latin typeface="Aptos" panose="020B0004020202020204" pitchFamily="34" charset="0"/>
              <a:ea typeface="+mn-ea"/>
              <a:cs typeface="+mn-cs"/>
            </a:endParaRPr>
          </a:p>
          <a:p>
            <a:pPr algn="ctr">
              <a:defRPr/>
            </a:pPr>
            <a:r>
              <a:rPr lang="en-US" sz="1500" kern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+mn-ea"/>
                <a:cs typeface="+mn-cs"/>
              </a:rPr>
              <a:t>We ran the algorithm in for loop to find the best accuracy depends on tree depth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5C6953D-B2CF-3610-A11F-B0A64AC26F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3701" y="1906012"/>
            <a:ext cx="3640242" cy="28755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8CC1EE10-6A7A-3959-F0E5-F5EE2BF7A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057" y="1906011"/>
            <a:ext cx="3640243" cy="287553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AA712AB3-9220-C629-E1A6-DD383AEC0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878" y="1906011"/>
            <a:ext cx="3640243" cy="287553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1690934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pic>
        <p:nvPicPr>
          <p:cNvPr id="5" name="Picture 4" descr="A diagram of a diagram&#10;&#10;Description automatically generated">
            <a:extLst>
              <a:ext uri="{FF2B5EF4-FFF2-40B4-BE49-F238E27FC236}">
                <a16:creationId xmlns:a16="http://schemas.microsoft.com/office/drawing/2014/main" id="{F8E8747C-6D47-F148-A036-114E520546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1215"/>
            <a:ext cx="12192000" cy="536870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1B5D974-9AA4-5413-A78A-20A937683A20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Decision Tre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1DEC77-0389-5701-8B73-B959981DC36F}"/>
              </a:ext>
            </a:extLst>
          </p:cNvPr>
          <p:cNvSpPr txBox="1"/>
          <p:nvPr/>
        </p:nvSpPr>
        <p:spPr>
          <a:xfrm>
            <a:off x="406399" y="1224200"/>
            <a:ext cx="4044951" cy="58477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GB" sz="1600" dirty="0"/>
              <a:t>Best Accuracy: 0.7876420454545454</a:t>
            </a:r>
          </a:p>
          <a:p>
            <a:pPr algn="ctr"/>
            <a:r>
              <a:rPr lang="en-GB" sz="1600" dirty="0"/>
              <a:t>Best </a:t>
            </a:r>
            <a:r>
              <a:rPr lang="en-GB" sz="1600" dirty="0" err="1"/>
              <a:t>max_depth</a:t>
            </a:r>
            <a:r>
              <a:rPr lang="en-GB" sz="1600" dirty="0"/>
              <a:t>: 5.0</a:t>
            </a:r>
          </a:p>
        </p:txBody>
      </p:sp>
    </p:spTree>
    <p:extLst>
      <p:ext uri="{BB962C8B-B14F-4D97-AF65-F5344CB8AC3E}">
        <p14:creationId xmlns:p14="http://schemas.microsoft.com/office/powerpoint/2010/main" val="28796100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14259B-A62B-EA29-F1A3-1CD249B036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7" name="Picture 11">
            <a:extLst>
              <a:ext uri="{FF2B5EF4-FFF2-40B4-BE49-F238E27FC236}">
                <a16:creationId xmlns:a16="http://schemas.microsoft.com/office/drawing/2014/main" id="{E750E756-6149-C29C-5AB4-119D363D8A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269" y="1759607"/>
            <a:ext cx="5403697" cy="38249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95834BE6-23E0-A4B7-F08E-8393F31F1D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01B8DC3C-049F-CFAE-68C0-04E61A3A3DF4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Random Fores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DB9FDC-751D-F137-FC2B-21A15CFB5F28}"/>
              </a:ext>
            </a:extLst>
          </p:cNvPr>
          <p:cNvSpPr txBox="1"/>
          <p:nvPr/>
        </p:nvSpPr>
        <p:spPr>
          <a:xfrm>
            <a:off x="3769491" y="5689039"/>
            <a:ext cx="4044951" cy="1077218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600" dirty="0"/>
              <a:t>Test Data</a:t>
            </a:r>
          </a:p>
          <a:p>
            <a:pPr algn="ctr"/>
            <a:r>
              <a:rPr lang="en-US" sz="1600" dirty="0"/>
              <a:t>Best Accuracy: 0.8061079545454546</a:t>
            </a:r>
          </a:p>
          <a:p>
            <a:pPr algn="ctr"/>
            <a:r>
              <a:rPr lang="en-US" sz="1600" dirty="0" err="1"/>
              <a:t>n_estimators</a:t>
            </a:r>
            <a:r>
              <a:rPr lang="en-US" sz="1600" dirty="0"/>
              <a:t>: 36.0</a:t>
            </a:r>
          </a:p>
          <a:p>
            <a:pPr algn="ctr"/>
            <a:r>
              <a:rPr lang="en-US" sz="1600" dirty="0"/>
              <a:t>Best </a:t>
            </a:r>
            <a:r>
              <a:rPr lang="en-US" sz="1600" dirty="0" err="1"/>
              <a:t>max_depth</a:t>
            </a:r>
            <a:r>
              <a:rPr lang="en-US" sz="1600" dirty="0"/>
              <a:t>: 11.0</a:t>
            </a:r>
            <a:endParaRPr lang="en-GB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C47F2A-9258-CCAB-B85A-553802A3C2DB}"/>
              </a:ext>
            </a:extLst>
          </p:cNvPr>
          <p:cNvSpPr txBox="1"/>
          <p:nvPr/>
        </p:nvSpPr>
        <p:spPr>
          <a:xfrm>
            <a:off x="551794" y="2179255"/>
            <a:ext cx="4924972" cy="1032642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>
            <a:spAutoFit/>
          </a:bodyPr>
          <a:lstStyle/>
          <a:p>
            <a:endParaRPr lang="en-GB" dirty="0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73D2296D-6674-9B6C-8C55-AF57E6E80AED}"/>
              </a:ext>
            </a:extLst>
          </p:cNvPr>
          <p:cNvSpPr/>
          <p:nvPr/>
        </p:nvSpPr>
        <p:spPr>
          <a:xfrm>
            <a:off x="5335534" y="2369507"/>
            <a:ext cx="912866" cy="387350"/>
          </a:xfrm>
          <a:prstGeom prst="rightArrow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82">
            <a:extLst>
              <a:ext uri="{FF2B5EF4-FFF2-40B4-BE49-F238E27FC236}">
                <a16:creationId xmlns:a16="http://schemas.microsoft.com/office/drawing/2014/main" id="{7C4209E7-1E40-0DAC-C165-2911BCFA2D7C}"/>
              </a:ext>
            </a:extLst>
          </p:cNvPr>
          <p:cNvSpPr txBox="1"/>
          <p:nvPr/>
        </p:nvSpPr>
        <p:spPr>
          <a:xfrm>
            <a:off x="1028700" y="881817"/>
            <a:ext cx="10299701" cy="80021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>
              <a:defRPr/>
            </a:pPr>
            <a:r>
              <a:rPr lang="en-US" sz="1500" kern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+mn-ea"/>
                <a:cs typeface="+mn-cs"/>
              </a:rPr>
              <a:t>Dataset was </a:t>
            </a:r>
            <a:r>
              <a:rPr lang="en-US" sz="1500" dirty="0">
                <a:solidFill>
                  <a:srgbClr val="000000"/>
                </a:solidFill>
                <a:latin typeface="Aptos" panose="020B0004020202020204" pitchFamily="34" charset="0"/>
              </a:rPr>
              <a:t>divided into 80/20 ratio – 5636 rows for train set and 1408 for test set</a:t>
            </a:r>
            <a:endParaRPr lang="en-US" sz="1500" kern="1200" dirty="0">
              <a:solidFill>
                <a:srgbClr val="000000"/>
              </a:solidFill>
              <a:effectLst/>
              <a:latin typeface="Aptos" panose="020B0004020202020204" pitchFamily="34" charset="0"/>
              <a:ea typeface="+mn-ea"/>
              <a:cs typeface="+mn-cs"/>
            </a:endParaRPr>
          </a:p>
          <a:p>
            <a:pPr algn="ctr">
              <a:defRPr/>
            </a:pPr>
            <a:r>
              <a:rPr lang="en-US" sz="1500" kern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+mn-ea"/>
                <a:cs typeface="+mn-cs"/>
              </a:rPr>
              <a:t>We ran the algorithm in 2 for loops to find the best accuracy depends on N estimators and max depth.</a:t>
            </a:r>
          </a:p>
          <a:p>
            <a:pPr algn="ctr">
              <a:defRPr/>
            </a:pPr>
            <a:r>
              <a:rPr lang="en-US" sz="1500" kern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+mn-ea"/>
                <a:cs typeface="+mn-cs"/>
              </a:rPr>
              <a:t>We started with high-level with jumps for N estimators, after </a:t>
            </a:r>
            <a:r>
              <a:rPr lang="en-US" sz="1500" dirty="0">
                <a:solidFill>
                  <a:srgbClr val="000000"/>
                </a:solidFill>
                <a:latin typeface="Aptos" panose="020B0004020202020204" pitchFamily="34" charset="0"/>
              </a:rPr>
              <a:t>plotting the heatmap hot areas - we’ve fine-tuned the parameters.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105" name="Picture 9">
            <a:extLst>
              <a:ext uri="{FF2B5EF4-FFF2-40B4-BE49-F238E27FC236}">
                <a16:creationId xmlns:a16="http://schemas.microsoft.com/office/drawing/2014/main" id="{4B03C4C1-09ED-802D-713D-D54A5C2BDD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2282" y="1759607"/>
            <a:ext cx="5403697" cy="38249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7069890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C1E637-2B93-56DF-276E-1E049E20C7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FAB5CBF7-AB7C-811E-BE69-C23D05B9C5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490" y="1750081"/>
            <a:ext cx="5403697" cy="38249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56947952-98D1-BA4C-A762-CBE1419B96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EB52EF43-00AC-A791-CE1C-4CD67FE944B7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Random Fores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516017-0317-A51A-3B6E-D0FB7113014B}"/>
              </a:ext>
            </a:extLst>
          </p:cNvPr>
          <p:cNvSpPr txBox="1"/>
          <p:nvPr/>
        </p:nvSpPr>
        <p:spPr>
          <a:xfrm>
            <a:off x="3769491" y="5689039"/>
            <a:ext cx="4044951" cy="1077218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600" dirty="0"/>
              <a:t>Train Data</a:t>
            </a:r>
          </a:p>
          <a:p>
            <a:pPr algn="ctr"/>
            <a:r>
              <a:rPr lang="en-US" sz="1600" dirty="0"/>
              <a:t>Best Accuracy: 0.9975155279503105</a:t>
            </a:r>
          </a:p>
          <a:p>
            <a:pPr algn="ctr"/>
            <a:r>
              <a:rPr lang="en-US" sz="1600" dirty="0"/>
              <a:t>Best </a:t>
            </a:r>
            <a:r>
              <a:rPr lang="en-US" sz="1600" dirty="0" err="1"/>
              <a:t>n_estimators</a:t>
            </a:r>
            <a:r>
              <a:rPr lang="en-US" sz="1600" dirty="0"/>
              <a:t>: 71.0</a:t>
            </a:r>
          </a:p>
          <a:p>
            <a:pPr algn="ctr"/>
            <a:r>
              <a:rPr lang="en-US" sz="1600" dirty="0"/>
              <a:t>Best </a:t>
            </a:r>
            <a:r>
              <a:rPr lang="en-US" sz="1600" dirty="0" err="1"/>
              <a:t>max_depth</a:t>
            </a:r>
            <a:r>
              <a:rPr lang="en-US" sz="1600" dirty="0"/>
              <a:t>: 22.0</a:t>
            </a:r>
            <a:endParaRPr lang="en-GB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03D35A-7EF7-78BF-BE15-A2EA8011823A}"/>
              </a:ext>
            </a:extLst>
          </p:cNvPr>
          <p:cNvSpPr txBox="1"/>
          <p:nvPr/>
        </p:nvSpPr>
        <p:spPr>
          <a:xfrm>
            <a:off x="564490" y="3146259"/>
            <a:ext cx="4827317" cy="207596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>
            <a:spAutoFit/>
          </a:bodyPr>
          <a:lstStyle/>
          <a:p>
            <a:endParaRPr lang="en-GB" dirty="0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A935CD2B-DF5C-A3C4-7A91-B096B5914F03}"/>
              </a:ext>
            </a:extLst>
          </p:cNvPr>
          <p:cNvSpPr/>
          <p:nvPr/>
        </p:nvSpPr>
        <p:spPr>
          <a:xfrm>
            <a:off x="5391807" y="3796889"/>
            <a:ext cx="912866" cy="387350"/>
          </a:xfrm>
          <a:prstGeom prst="rightArrow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1460A1B3-610D-A9DC-1D40-8A8805CD9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2914" y="1750081"/>
            <a:ext cx="5403698" cy="3825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extBox 82">
            <a:extLst>
              <a:ext uri="{FF2B5EF4-FFF2-40B4-BE49-F238E27FC236}">
                <a16:creationId xmlns:a16="http://schemas.microsoft.com/office/drawing/2014/main" id="{6603A5EE-F8A6-FE66-E004-9DDF8778882E}"/>
              </a:ext>
            </a:extLst>
          </p:cNvPr>
          <p:cNvSpPr txBox="1"/>
          <p:nvPr/>
        </p:nvSpPr>
        <p:spPr>
          <a:xfrm>
            <a:off x="1028700" y="881817"/>
            <a:ext cx="10299701" cy="80021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>
              <a:defRPr/>
            </a:pPr>
            <a:r>
              <a:rPr lang="en-US" sz="1500" kern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+mn-ea"/>
                <a:cs typeface="+mn-cs"/>
              </a:rPr>
              <a:t>Dataset was </a:t>
            </a:r>
            <a:r>
              <a:rPr lang="en-US" sz="1500" dirty="0">
                <a:solidFill>
                  <a:srgbClr val="000000"/>
                </a:solidFill>
                <a:latin typeface="Aptos" panose="020B0004020202020204" pitchFamily="34" charset="0"/>
              </a:rPr>
              <a:t>divided into 80/20 ratio – 5636 rows for train set and 1408 for test set</a:t>
            </a:r>
            <a:endParaRPr lang="en-US" sz="1500" kern="1200" dirty="0">
              <a:solidFill>
                <a:srgbClr val="000000"/>
              </a:solidFill>
              <a:effectLst/>
              <a:latin typeface="Aptos" panose="020B0004020202020204" pitchFamily="34" charset="0"/>
              <a:ea typeface="+mn-ea"/>
              <a:cs typeface="+mn-cs"/>
            </a:endParaRPr>
          </a:p>
          <a:p>
            <a:pPr algn="ctr">
              <a:defRPr/>
            </a:pPr>
            <a:r>
              <a:rPr lang="en-US" sz="1500" kern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+mn-ea"/>
                <a:cs typeface="+mn-cs"/>
              </a:rPr>
              <a:t>We ran the algorithm in 2 for loops to find the best accuracy depends on N estimators and max depth.</a:t>
            </a:r>
          </a:p>
          <a:p>
            <a:pPr algn="ctr">
              <a:defRPr/>
            </a:pPr>
            <a:r>
              <a:rPr lang="en-US" sz="1500" kern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+mn-ea"/>
                <a:cs typeface="+mn-cs"/>
              </a:rPr>
              <a:t>We started with high-level with jumps for N estimators, after </a:t>
            </a:r>
            <a:r>
              <a:rPr lang="en-US" sz="1500" dirty="0">
                <a:solidFill>
                  <a:srgbClr val="000000"/>
                </a:solidFill>
                <a:latin typeface="Aptos" panose="020B0004020202020204" pitchFamily="34" charset="0"/>
              </a:rPr>
              <a:t>plotting the heatmap hot areas - we’ve fine-tuned the parameters.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25448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0B5901-CD2E-054D-E46F-6FFDA0B1EB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211B9C1-E397-C0AC-4821-D5AD73A4F2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2682" y="709087"/>
            <a:ext cx="9246636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317658CE-50DC-BE24-8FF7-9D889D8BC853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Random Forest Feature Importa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C347625-285F-C50C-2008-D176357616B7}"/>
              </a:ext>
            </a:extLst>
          </p:cNvPr>
          <p:cNvSpPr txBox="1"/>
          <p:nvPr/>
        </p:nvSpPr>
        <p:spPr>
          <a:xfrm>
            <a:off x="9262834" y="2458135"/>
            <a:ext cx="261166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500" dirty="0"/>
              <a:t>This is also aligned with what we saw in the correlations, so seems like the algorithm found the right pattern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796F2F9B-D5E6-F9A4-F1E5-650970CB3B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682" y="1099720"/>
            <a:ext cx="7658857" cy="54534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4471097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3EBC111-CB5F-CA4F-16C2-2B9F1D76A6BD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KN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23DB0E-46EE-ECBB-D6FB-0C1B4677919D}"/>
              </a:ext>
            </a:extLst>
          </p:cNvPr>
          <p:cNvSpPr txBox="1"/>
          <p:nvPr/>
        </p:nvSpPr>
        <p:spPr>
          <a:xfrm>
            <a:off x="4073523" y="5799065"/>
            <a:ext cx="4044951" cy="58477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600" dirty="0"/>
              <a:t>Best Accuracy: 0.7840909090909091</a:t>
            </a:r>
          </a:p>
          <a:p>
            <a:pPr algn="ctr"/>
            <a:r>
              <a:rPr lang="en-US" sz="1600" dirty="0"/>
              <a:t>Best </a:t>
            </a:r>
            <a:r>
              <a:rPr lang="en-US" sz="1600" dirty="0" err="1"/>
              <a:t>n_estimators</a:t>
            </a:r>
            <a:r>
              <a:rPr lang="en-US" sz="1600" dirty="0"/>
              <a:t>: 25.0</a:t>
            </a:r>
            <a:endParaRPr lang="en-GB" sz="1600" dirty="0"/>
          </a:p>
        </p:txBody>
      </p:sp>
      <p:sp>
        <p:nvSpPr>
          <p:cNvPr id="2" name="TextBox 82">
            <a:extLst>
              <a:ext uri="{FF2B5EF4-FFF2-40B4-BE49-F238E27FC236}">
                <a16:creationId xmlns:a16="http://schemas.microsoft.com/office/drawing/2014/main" id="{BE877146-26B0-6B9C-B7FF-05EEC5E13364}"/>
              </a:ext>
            </a:extLst>
          </p:cNvPr>
          <p:cNvSpPr txBox="1"/>
          <p:nvPr/>
        </p:nvSpPr>
        <p:spPr>
          <a:xfrm>
            <a:off x="1028700" y="938252"/>
            <a:ext cx="10299701" cy="553998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>
              <a:defRPr/>
            </a:pPr>
            <a:r>
              <a:rPr lang="en-US" sz="1500" kern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+mn-ea"/>
                <a:cs typeface="+mn-cs"/>
              </a:rPr>
              <a:t>Dataset was </a:t>
            </a:r>
            <a:r>
              <a:rPr lang="en-US" sz="1500" dirty="0">
                <a:solidFill>
                  <a:srgbClr val="000000"/>
                </a:solidFill>
                <a:latin typeface="Aptos" panose="020B0004020202020204" pitchFamily="34" charset="0"/>
              </a:rPr>
              <a:t>divided into 80/20 ratio – 5636 rows for train set and 1408 for test set</a:t>
            </a:r>
            <a:endParaRPr lang="en-US" sz="1500" kern="1200" dirty="0">
              <a:solidFill>
                <a:srgbClr val="000000"/>
              </a:solidFill>
              <a:effectLst/>
              <a:latin typeface="Aptos" panose="020B0004020202020204" pitchFamily="34" charset="0"/>
              <a:ea typeface="+mn-ea"/>
              <a:cs typeface="+mn-cs"/>
            </a:endParaRPr>
          </a:p>
          <a:p>
            <a:pPr algn="ctr">
              <a:defRPr/>
            </a:pPr>
            <a:r>
              <a:rPr lang="en-US" sz="1500" kern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+mn-ea"/>
                <a:cs typeface="+mn-cs"/>
              </a:rPr>
              <a:t>We ran the algorithm in for loop to find the best accuracy </a:t>
            </a:r>
            <a:r>
              <a:rPr lang="en-US" sz="1500" dirty="0">
                <a:solidFill>
                  <a:srgbClr val="000000"/>
                </a:solidFill>
                <a:latin typeface="Aptos" panose="020B0004020202020204" pitchFamily="34" charset="0"/>
              </a:rPr>
              <a:t>depends on N</a:t>
            </a:r>
            <a:r>
              <a:rPr lang="he-IL" sz="1500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en-US" sz="1500" dirty="0">
                <a:solidFill>
                  <a:srgbClr val="000000"/>
                </a:solidFill>
                <a:latin typeface="Aptos" panose="020B0004020202020204" pitchFamily="34" charset="0"/>
              </a:rPr>
              <a:t>Neighbors.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211789A8-4D0D-1292-D0B1-C72A09A06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249" y="1802666"/>
            <a:ext cx="3653401" cy="28859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172" name="Picture 4">
            <a:extLst>
              <a:ext uri="{FF2B5EF4-FFF2-40B4-BE49-F238E27FC236}">
                <a16:creationId xmlns:a16="http://schemas.microsoft.com/office/drawing/2014/main" id="{93C4C19C-07F0-5041-6EBA-BE59EBEAAB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4237" y="1802666"/>
            <a:ext cx="3653401" cy="28859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174" name="Picture 6">
            <a:extLst>
              <a:ext uri="{FF2B5EF4-FFF2-40B4-BE49-F238E27FC236}">
                <a16:creationId xmlns:a16="http://schemas.microsoft.com/office/drawing/2014/main" id="{0C8CA7F7-4E32-FCD7-A7F8-FA629908A0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4243" y="1802666"/>
            <a:ext cx="3653401" cy="28859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759656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2CE968-F142-3962-C643-5947B94E01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58C482EC-B14C-0C0A-0A88-442D09F3C3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8F3BDCEC-6EB6-674A-2F81-29DE34A68A1F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KNN – Scaled X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3D16D66-49C5-7E05-D9EA-A2BCC140D72F}"/>
              </a:ext>
            </a:extLst>
          </p:cNvPr>
          <p:cNvSpPr txBox="1"/>
          <p:nvPr/>
        </p:nvSpPr>
        <p:spPr>
          <a:xfrm>
            <a:off x="4073523" y="5575726"/>
            <a:ext cx="4044951" cy="83099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600" dirty="0"/>
              <a:t>With Scaled X</a:t>
            </a:r>
          </a:p>
          <a:p>
            <a:pPr algn="ctr"/>
            <a:r>
              <a:rPr lang="en-US" sz="1600" dirty="0"/>
              <a:t>Best Accuracy: 0.7933238636363636</a:t>
            </a:r>
          </a:p>
          <a:p>
            <a:pPr algn="ctr"/>
            <a:r>
              <a:rPr lang="en-US" sz="1600" dirty="0"/>
              <a:t>Best </a:t>
            </a:r>
            <a:r>
              <a:rPr lang="en-US" sz="1600" dirty="0" err="1"/>
              <a:t>n_estimators</a:t>
            </a:r>
            <a:r>
              <a:rPr lang="en-US" sz="1600" dirty="0"/>
              <a:t>: 18.0</a:t>
            </a:r>
            <a:endParaRPr lang="en-GB" sz="1600" dirty="0"/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12D129FC-57F2-20D9-F8BA-AC6B732F4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462" y="1560545"/>
            <a:ext cx="4834710" cy="38190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646CBB45-639E-EFFD-EB57-C0FCB2FF41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9040" y="1560544"/>
            <a:ext cx="4843605" cy="38261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extBox 82">
            <a:extLst>
              <a:ext uri="{FF2B5EF4-FFF2-40B4-BE49-F238E27FC236}">
                <a16:creationId xmlns:a16="http://schemas.microsoft.com/office/drawing/2014/main" id="{616C9D95-48CE-706E-3013-0EA7C6AC7430}"/>
              </a:ext>
            </a:extLst>
          </p:cNvPr>
          <p:cNvSpPr txBox="1"/>
          <p:nvPr/>
        </p:nvSpPr>
        <p:spPr>
          <a:xfrm>
            <a:off x="1028700" y="938252"/>
            <a:ext cx="10299701" cy="553998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>
              <a:defRPr/>
            </a:pPr>
            <a:r>
              <a:rPr lang="en-US" sz="1500" kern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+mn-ea"/>
                <a:cs typeface="+mn-cs"/>
              </a:rPr>
              <a:t>Dataset was </a:t>
            </a:r>
            <a:r>
              <a:rPr lang="en-US" sz="1500" dirty="0">
                <a:solidFill>
                  <a:srgbClr val="000000"/>
                </a:solidFill>
                <a:latin typeface="Aptos" panose="020B0004020202020204" pitchFamily="34" charset="0"/>
              </a:rPr>
              <a:t>divided into 80/20 ratio – 5636 rows for train set and 1408 for test set</a:t>
            </a:r>
            <a:endParaRPr lang="en-US" sz="1500" kern="1200" dirty="0">
              <a:solidFill>
                <a:srgbClr val="000000"/>
              </a:solidFill>
              <a:effectLst/>
              <a:latin typeface="Aptos" panose="020B0004020202020204" pitchFamily="34" charset="0"/>
              <a:ea typeface="+mn-ea"/>
              <a:cs typeface="+mn-cs"/>
            </a:endParaRPr>
          </a:p>
          <a:p>
            <a:pPr algn="ctr">
              <a:defRPr/>
            </a:pPr>
            <a:r>
              <a:rPr lang="en-US" sz="1500" kern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+mn-ea"/>
                <a:cs typeface="+mn-cs"/>
              </a:rPr>
              <a:t>We ran the algorithm in for loop to find the best accuracy </a:t>
            </a:r>
            <a:r>
              <a:rPr lang="en-US" sz="1500" dirty="0">
                <a:solidFill>
                  <a:srgbClr val="000000"/>
                </a:solidFill>
                <a:latin typeface="Aptos" panose="020B0004020202020204" pitchFamily="34" charset="0"/>
              </a:rPr>
              <a:t>depends on N</a:t>
            </a:r>
            <a:r>
              <a:rPr lang="he-IL" sz="1500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en-US" sz="1500" dirty="0">
                <a:solidFill>
                  <a:srgbClr val="000000"/>
                </a:solidFill>
                <a:latin typeface="Aptos" panose="020B0004020202020204" pitchFamily="34" charset="0"/>
              </a:rPr>
              <a:t>Neighbors.</a:t>
            </a:r>
          </a:p>
        </p:txBody>
      </p:sp>
    </p:spTree>
    <p:extLst>
      <p:ext uri="{BB962C8B-B14F-4D97-AF65-F5344CB8AC3E}">
        <p14:creationId xmlns:p14="http://schemas.microsoft.com/office/powerpoint/2010/main" val="21171681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3EBC111-CB5F-CA4F-16C2-2B9F1D76A6BD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Algorithms Introspe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E582E4-95B5-C1E8-D528-02C8D4EC5210}"/>
              </a:ext>
            </a:extLst>
          </p:cNvPr>
          <p:cNvSpPr txBox="1"/>
          <p:nvPr/>
        </p:nvSpPr>
        <p:spPr>
          <a:xfrm>
            <a:off x="917574" y="1084302"/>
            <a:ext cx="10963275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1" dirty="0"/>
              <a:t>Our model results:</a:t>
            </a:r>
          </a:p>
          <a:p>
            <a:pPr algn="l"/>
            <a:r>
              <a:rPr lang="en-US" dirty="0"/>
              <a:t>Decision tree best accuracy Result: 78.76%</a:t>
            </a:r>
            <a:br>
              <a:rPr lang="en-US" dirty="0"/>
            </a:br>
            <a:r>
              <a:rPr lang="en-US" dirty="0"/>
              <a:t>Random Forest best accuracy Result: 80.61%</a:t>
            </a:r>
            <a:br>
              <a:rPr lang="en-US" dirty="0"/>
            </a:br>
            <a:r>
              <a:rPr lang="en-US" dirty="0"/>
              <a:t>KNN best accuracy Result (before standardization): 78.4%</a:t>
            </a:r>
            <a:br>
              <a:rPr lang="en-US" dirty="0"/>
            </a:br>
            <a:r>
              <a:rPr lang="en-US" dirty="0"/>
              <a:t>KNN best accuracy Result (after standardization): 79.33%</a:t>
            </a:r>
            <a:br>
              <a:rPr lang="en-US" dirty="0"/>
            </a:br>
            <a:endParaRPr lang="en-US" dirty="0"/>
          </a:p>
          <a:p>
            <a:pPr algn="l"/>
            <a:r>
              <a:rPr lang="en-US" b="1" dirty="0"/>
              <a:t>The performance on test is 73.86%, we can see that any of our algorithms beat the benchmark performance</a:t>
            </a:r>
          </a:p>
          <a:p>
            <a:pPr algn="l"/>
            <a:endParaRPr lang="en-GB" dirty="0">
              <a:highlight>
                <a:srgbClr val="FFFF00"/>
              </a:highlight>
            </a:endParaRPr>
          </a:p>
          <a:p>
            <a:pPr algn="l"/>
            <a:endParaRPr lang="en-GB" dirty="0">
              <a:highlight>
                <a:srgbClr val="FFFF00"/>
              </a:highlight>
            </a:endParaRPr>
          </a:p>
          <a:p>
            <a:pPr algn="l"/>
            <a:endParaRPr lang="en-GB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054828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943CAA20-3569-4189-9E48-239A229A86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3D505A8-9206-DFFB-A260-833C3C4B89C1}"/>
              </a:ext>
            </a:extLst>
          </p:cNvPr>
          <p:cNvSpPr txBox="1"/>
          <p:nvPr/>
        </p:nvSpPr>
        <p:spPr>
          <a:xfrm>
            <a:off x="838200" y="451381"/>
            <a:ext cx="10512552" cy="40665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6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art B:</a:t>
            </a:r>
          </a:p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600" b="1" dirty="0">
                <a:latin typeface="+mj-lt"/>
                <a:ea typeface="+mj-ea"/>
                <a:cs typeface="+mj-cs"/>
              </a:rPr>
              <a:t>MongoDB </a:t>
            </a:r>
            <a:endParaRPr lang="en-US" sz="66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sketch line">
            <a:extLst>
              <a:ext uri="{FF2B5EF4-FFF2-40B4-BE49-F238E27FC236}">
                <a16:creationId xmlns:a16="http://schemas.microsoft.com/office/drawing/2014/main" id="{DA542B6D-E775-4832-91DC-2D20F8578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8200" y="4718595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Trends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309EFEE-5812-9B8C-2761-EF8CD64A0EF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993407" y="2659502"/>
            <a:ext cx="2933331" cy="2080622"/>
            <a:chOff x="7067550" y="5861050"/>
            <a:chExt cx="819150" cy="581026"/>
          </a:xfrm>
          <a:solidFill>
            <a:schemeClr val="tx1"/>
          </a:solidFill>
        </p:grpSpPr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AE3C5A6E-EC38-A0D8-B3AC-54DE78C95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7550" y="5886450"/>
              <a:ext cx="431800" cy="473075"/>
            </a:xfrm>
            <a:custGeom>
              <a:avLst/>
              <a:gdLst>
                <a:gd name="T0" fmla="*/ 50 w 605"/>
                <a:gd name="T1" fmla="*/ 50 h 663"/>
                <a:gd name="T2" fmla="*/ 576 w 605"/>
                <a:gd name="T3" fmla="*/ 50 h 663"/>
                <a:gd name="T4" fmla="*/ 605 w 605"/>
                <a:gd name="T5" fmla="*/ 0 h 663"/>
                <a:gd name="T6" fmla="*/ 43 w 605"/>
                <a:gd name="T7" fmla="*/ 0 h 663"/>
                <a:gd name="T8" fmla="*/ 0 w 605"/>
                <a:gd name="T9" fmla="*/ 43 h 663"/>
                <a:gd name="T10" fmla="*/ 0 w 605"/>
                <a:gd name="T11" fmla="*/ 620 h 663"/>
                <a:gd name="T12" fmla="*/ 43 w 605"/>
                <a:gd name="T13" fmla="*/ 663 h 663"/>
                <a:gd name="T14" fmla="*/ 370 w 605"/>
                <a:gd name="T15" fmla="*/ 663 h 663"/>
                <a:gd name="T16" fmla="*/ 370 w 605"/>
                <a:gd name="T17" fmla="*/ 637 h 663"/>
                <a:gd name="T18" fmla="*/ 406 w 605"/>
                <a:gd name="T19" fmla="*/ 533 h 663"/>
                <a:gd name="T20" fmla="*/ 50 w 605"/>
                <a:gd name="T21" fmla="*/ 533 h 663"/>
                <a:gd name="T22" fmla="*/ 50 w 605"/>
                <a:gd name="T23" fmla="*/ 50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5" h="663">
                  <a:moveTo>
                    <a:pt x="50" y="50"/>
                  </a:moveTo>
                  <a:lnTo>
                    <a:pt x="576" y="50"/>
                  </a:lnTo>
                  <a:cubicBezTo>
                    <a:pt x="583" y="32"/>
                    <a:pt x="593" y="15"/>
                    <a:pt x="605" y="0"/>
                  </a:cubicBezTo>
                  <a:lnTo>
                    <a:pt x="43" y="0"/>
                  </a:lnTo>
                  <a:cubicBezTo>
                    <a:pt x="19" y="0"/>
                    <a:pt x="0" y="19"/>
                    <a:pt x="0" y="43"/>
                  </a:cubicBezTo>
                  <a:lnTo>
                    <a:pt x="0" y="620"/>
                  </a:lnTo>
                  <a:cubicBezTo>
                    <a:pt x="0" y="644"/>
                    <a:pt x="19" y="663"/>
                    <a:pt x="43" y="663"/>
                  </a:cubicBezTo>
                  <a:lnTo>
                    <a:pt x="370" y="663"/>
                  </a:lnTo>
                  <a:lnTo>
                    <a:pt x="370" y="637"/>
                  </a:lnTo>
                  <a:cubicBezTo>
                    <a:pt x="370" y="599"/>
                    <a:pt x="383" y="562"/>
                    <a:pt x="406" y="533"/>
                  </a:cubicBezTo>
                  <a:lnTo>
                    <a:pt x="50" y="533"/>
                  </a:lnTo>
                  <a:lnTo>
                    <a:pt x="50" y="5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Rectangle 88">
              <a:extLst>
                <a:ext uri="{FF2B5EF4-FFF2-40B4-BE49-F238E27FC236}">
                  <a16:creationId xmlns:a16="http://schemas.microsoft.com/office/drawing/2014/main" id="{D940A339-B8C8-E1D5-299E-CA1F35D9E7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1700" y="6386513"/>
              <a:ext cx="79375" cy="333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89">
              <a:extLst>
                <a:ext uri="{FF2B5EF4-FFF2-40B4-BE49-F238E27FC236}">
                  <a16:creationId xmlns:a16="http://schemas.microsoft.com/office/drawing/2014/main" id="{10DCBE31-685C-28BB-A2AF-FA21DF519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9175" y="6145213"/>
              <a:ext cx="517525" cy="296863"/>
            </a:xfrm>
            <a:custGeom>
              <a:avLst/>
              <a:gdLst>
                <a:gd name="T0" fmla="*/ 673 w 728"/>
                <a:gd name="T1" fmla="*/ 175 h 418"/>
                <a:gd name="T2" fmla="*/ 440 w 728"/>
                <a:gd name="T3" fmla="*/ 0 h 418"/>
                <a:gd name="T4" fmla="*/ 290 w 728"/>
                <a:gd name="T5" fmla="*/ 0 h 418"/>
                <a:gd name="T6" fmla="*/ 54 w 728"/>
                <a:gd name="T7" fmla="*/ 175 h 418"/>
                <a:gd name="T8" fmla="*/ 0 w 728"/>
                <a:gd name="T9" fmla="*/ 275 h 418"/>
                <a:gd name="T10" fmla="*/ 0 w 728"/>
                <a:gd name="T11" fmla="*/ 418 h 418"/>
                <a:gd name="T12" fmla="*/ 60 w 728"/>
                <a:gd name="T13" fmla="*/ 418 h 418"/>
                <a:gd name="T14" fmla="*/ 60 w 728"/>
                <a:gd name="T15" fmla="*/ 275 h 418"/>
                <a:gd name="T16" fmla="*/ 119 w 728"/>
                <a:gd name="T17" fmla="*/ 215 h 418"/>
                <a:gd name="T18" fmla="*/ 609 w 728"/>
                <a:gd name="T19" fmla="*/ 215 h 418"/>
                <a:gd name="T20" fmla="*/ 668 w 728"/>
                <a:gd name="T21" fmla="*/ 275 h 418"/>
                <a:gd name="T22" fmla="*/ 668 w 728"/>
                <a:gd name="T23" fmla="*/ 418 h 418"/>
                <a:gd name="T24" fmla="*/ 728 w 728"/>
                <a:gd name="T25" fmla="*/ 418 h 418"/>
                <a:gd name="T26" fmla="*/ 728 w 728"/>
                <a:gd name="T27" fmla="*/ 275 h 418"/>
                <a:gd name="T28" fmla="*/ 673 w 728"/>
                <a:gd name="T29" fmla="*/ 175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8" h="418">
                  <a:moveTo>
                    <a:pt x="673" y="175"/>
                  </a:moveTo>
                  <a:cubicBezTo>
                    <a:pt x="659" y="85"/>
                    <a:pt x="609" y="0"/>
                    <a:pt x="440" y="0"/>
                  </a:cubicBezTo>
                  <a:lnTo>
                    <a:pt x="290" y="0"/>
                  </a:lnTo>
                  <a:cubicBezTo>
                    <a:pt x="118" y="0"/>
                    <a:pt x="68" y="87"/>
                    <a:pt x="54" y="175"/>
                  </a:cubicBezTo>
                  <a:cubicBezTo>
                    <a:pt x="22" y="197"/>
                    <a:pt x="0" y="233"/>
                    <a:pt x="0" y="275"/>
                  </a:cubicBezTo>
                  <a:lnTo>
                    <a:pt x="0" y="418"/>
                  </a:lnTo>
                  <a:lnTo>
                    <a:pt x="60" y="418"/>
                  </a:lnTo>
                  <a:lnTo>
                    <a:pt x="60" y="275"/>
                  </a:lnTo>
                  <a:cubicBezTo>
                    <a:pt x="60" y="242"/>
                    <a:pt x="86" y="215"/>
                    <a:pt x="119" y="215"/>
                  </a:cubicBezTo>
                  <a:lnTo>
                    <a:pt x="609" y="215"/>
                  </a:lnTo>
                  <a:cubicBezTo>
                    <a:pt x="642" y="215"/>
                    <a:pt x="668" y="242"/>
                    <a:pt x="668" y="275"/>
                  </a:cubicBezTo>
                  <a:lnTo>
                    <a:pt x="668" y="418"/>
                  </a:lnTo>
                  <a:lnTo>
                    <a:pt x="728" y="418"/>
                  </a:lnTo>
                  <a:lnTo>
                    <a:pt x="728" y="275"/>
                  </a:lnTo>
                  <a:cubicBezTo>
                    <a:pt x="728" y="233"/>
                    <a:pt x="706" y="196"/>
                    <a:pt x="673" y="17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Oval 90">
              <a:extLst>
                <a:ext uri="{FF2B5EF4-FFF2-40B4-BE49-F238E27FC236}">
                  <a16:creationId xmlns:a16="http://schemas.microsoft.com/office/drawing/2014/main" id="{181562C3-FC28-F73F-29A4-5AE9E3AEDF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2525" y="5861050"/>
              <a:ext cx="252413" cy="25082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91">
              <a:extLst>
                <a:ext uri="{FF2B5EF4-FFF2-40B4-BE49-F238E27FC236}">
                  <a16:creationId xmlns:a16="http://schemas.microsoft.com/office/drawing/2014/main" id="{743BF86E-B6B7-9B0E-0414-19414B5CA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6010275"/>
              <a:ext cx="306388" cy="176213"/>
            </a:xfrm>
            <a:custGeom>
              <a:avLst/>
              <a:gdLst>
                <a:gd name="T0" fmla="*/ 336 w 430"/>
                <a:gd name="T1" fmla="*/ 144 h 249"/>
                <a:gd name="T2" fmla="*/ 331 w 430"/>
                <a:gd name="T3" fmla="*/ 127 h 249"/>
                <a:gd name="T4" fmla="*/ 378 w 430"/>
                <a:gd name="T5" fmla="*/ 77 h 249"/>
                <a:gd name="T6" fmla="*/ 391 w 430"/>
                <a:gd name="T7" fmla="*/ 79 h 249"/>
                <a:gd name="T8" fmla="*/ 430 w 430"/>
                <a:gd name="T9" fmla="*/ 40 h 249"/>
                <a:gd name="T10" fmla="*/ 391 w 430"/>
                <a:gd name="T11" fmla="*/ 0 h 249"/>
                <a:gd name="T12" fmla="*/ 351 w 430"/>
                <a:gd name="T13" fmla="*/ 40 h 249"/>
                <a:gd name="T14" fmla="*/ 354 w 430"/>
                <a:gd name="T15" fmla="*/ 54 h 249"/>
                <a:gd name="T16" fmla="*/ 305 w 430"/>
                <a:gd name="T17" fmla="*/ 106 h 249"/>
                <a:gd name="T18" fmla="*/ 296 w 430"/>
                <a:gd name="T19" fmla="*/ 105 h 249"/>
                <a:gd name="T20" fmla="*/ 272 w 430"/>
                <a:gd name="T21" fmla="*/ 113 h 249"/>
                <a:gd name="T22" fmla="*/ 189 w 430"/>
                <a:gd name="T23" fmla="*/ 84 h 249"/>
                <a:gd name="T24" fmla="*/ 151 w 430"/>
                <a:gd name="T25" fmla="*/ 56 h 249"/>
                <a:gd name="T26" fmla="*/ 112 w 430"/>
                <a:gd name="T27" fmla="*/ 95 h 249"/>
                <a:gd name="T28" fmla="*/ 113 w 430"/>
                <a:gd name="T29" fmla="*/ 106 h 249"/>
                <a:gd name="T30" fmla="*/ 53 w 430"/>
                <a:gd name="T31" fmla="*/ 173 h 249"/>
                <a:gd name="T32" fmla="*/ 39 w 430"/>
                <a:gd name="T33" fmla="*/ 171 h 249"/>
                <a:gd name="T34" fmla="*/ 0 w 430"/>
                <a:gd name="T35" fmla="*/ 210 h 249"/>
                <a:gd name="T36" fmla="*/ 39 w 430"/>
                <a:gd name="T37" fmla="*/ 249 h 249"/>
                <a:gd name="T38" fmla="*/ 79 w 430"/>
                <a:gd name="T39" fmla="*/ 210 h 249"/>
                <a:gd name="T40" fmla="*/ 76 w 430"/>
                <a:gd name="T41" fmla="*/ 198 h 249"/>
                <a:gd name="T42" fmla="*/ 135 w 430"/>
                <a:gd name="T43" fmla="*/ 131 h 249"/>
                <a:gd name="T44" fmla="*/ 151 w 430"/>
                <a:gd name="T45" fmla="*/ 135 h 249"/>
                <a:gd name="T46" fmla="*/ 184 w 430"/>
                <a:gd name="T47" fmla="*/ 118 h 249"/>
                <a:gd name="T48" fmla="*/ 257 w 430"/>
                <a:gd name="T49" fmla="*/ 143 h 249"/>
                <a:gd name="T50" fmla="*/ 257 w 430"/>
                <a:gd name="T51" fmla="*/ 144 h 249"/>
                <a:gd name="T52" fmla="*/ 296 w 430"/>
                <a:gd name="T53" fmla="*/ 184 h 249"/>
                <a:gd name="T54" fmla="*/ 336 w 430"/>
                <a:gd name="T55" fmla="*/ 14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30" h="249">
                  <a:moveTo>
                    <a:pt x="336" y="144"/>
                  </a:moveTo>
                  <a:cubicBezTo>
                    <a:pt x="336" y="138"/>
                    <a:pt x="334" y="132"/>
                    <a:pt x="331" y="127"/>
                  </a:cubicBezTo>
                  <a:lnTo>
                    <a:pt x="378" y="77"/>
                  </a:lnTo>
                  <a:cubicBezTo>
                    <a:pt x="382" y="78"/>
                    <a:pt x="387" y="79"/>
                    <a:pt x="391" y="79"/>
                  </a:cubicBezTo>
                  <a:cubicBezTo>
                    <a:pt x="413" y="79"/>
                    <a:pt x="430" y="62"/>
                    <a:pt x="430" y="40"/>
                  </a:cubicBezTo>
                  <a:cubicBezTo>
                    <a:pt x="430" y="18"/>
                    <a:pt x="413" y="0"/>
                    <a:pt x="391" y="0"/>
                  </a:cubicBezTo>
                  <a:cubicBezTo>
                    <a:pt x="369" y="0"/>
                    <a:pt x="351" y="18"/>
                    <a:pt x="351" y="40"/>
                  </a:cubicBezTo>
                  <a:cubicBezTo>
                    <a:pt x="351" y="45"/>
                    <a:pt x="352" y="50"/>
                    <a:pt x="354" y="54"/>
                  </a:cubicBezTo>
                  <a:lnTo>
                    <a:pt x="305" y="106"/>
                  </a:lnTo>
                  <a:cubicBezTo>
                    <a:pt x="302" y="105"/>
                    <a:pt x="299" y="105"/>
                    <a:pt x="296" y="105"/>
                  </a:cubicBezTo>
                  <a:cubicBezTo>
                    <a:pt x="287" y="105"/>
                    <a:pt x="279" y="108"/>
                    <a:pt x="272" y="113"/>
                  </a:cubicBezTo>
                  <a:lnTo>
                    <a:pt x="189" y="84"/>
                  </a:lnTo>
                  <a:cubicBezTo>
                    <a:pt x="184" y="68"/>
                    <a:pt x="169" y="56"/>
                    <a:pt x="151" y="56"/>
                  </a:cubicBezTo>
                  <a:cubicBezTo>
                    <a:pt x="130" y="56"/>
                    <a:pt x="112" y="74"/>
                    <a:pt x="112" y="95"/>
                  </a:cubicBezTo>
                  <a:cubicBezTo>
                    <a:pt x="112" y="99"/>
                    <a:pt x="113" y="102"/>
                    <a:pt x="113" y="106"/>
                  </a:cubicBezTo>
                  <a:lnTo>
                    <a:pt x="53" y="173"/>
                  </a:lnTo>
                  <a:cubicBezTo>
                    <a:pt x="49" y="172"/>
                    <a:pt x="44" y="171"/>
                    <a:pt x="39" y="171"/>
                  </a:cubicBezTo>
                  <a:cubicBezTo>
                    <a:pt x="17" y="171"/>
                    <a:pt x="0" y="188"/>
                    <a:pt x="0" y="210"/>
                  </a:cubicBezTo>
                  <a:cubicBezTo>
                    <a:pt x="0" y="232"/>
                    <a:pt x="17" y="249"/>
                    <a:pt x="39" y="249"/>
                  </a:cubicBezTo>
                  <a:cubicBezTo>
                    <a:pt x="61" y="249"/>
                    <a:pt x="79" y="232"/>
                    <a:pt x="79" y="210"/>
                  </a:cubicBezTo>
                  <a:cubicBezTo>
                    <a:pt x="79" y="206"/>
                    <a:pt x="78" y="202"/>
                    <a:pt x="76" y="198"/>
                  </a:cubicBezTo>
                  <a:lnTo>
                    <a:pt x="135" y="131"/>
                  </a:lnTo>
                  <a:cubicBezTo>
                    <a:pt x="140" y="134"/>
                    <a:pt x="146" y="135"/>
                    <a:pt x="151" y="135"/>
                  </a:cubicBezTo>
                  <a:cubicBezTo>
                    <a:pt x="165" y="135"/>
                    <a:pt x="177" y="128"/>
                    <a:pt x="184" y="118"/>
                  </a:cubicBezTo>
                  <a:lnTo>
                    <a:pt x="257" y="143"/>
                  </a:lnTo>
                  <a:cubicBezTo>
                    <a:pt x="257" y="144"/>
                    <a:pt x="257" y="144"/>
                    <a:pt x="257" y="144"/>
                  </a:cubicBezTo>
                  <a:cubicBezTo>
                    <a:pt x="257" y="166"/>
                    <a:pt x="274" y="184"/>
                    <a:pt x="296" y="184"/>
                  </a:cubicBezTo>
                  <a:cubicBezTo>
                    <a:pt x="318" y="184"/>
                    <a:pt x="336" y="166"/>
                    <a:pt x="336" y="14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8468417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E793EB-50CD-3F0E-1AD1-67C348CAC0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86D5A3AE-FCC9-2BD7-0A1E-39A4197E47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36" name="TextBox 82">
            <a:extLst>
              <a:ext uri="{FF2B5EF4-FFF2-40B4-BE49-F238E27FC236}">
                <a16:creationId xmlns:a16="http://schemas.microsoft.com/office/drawing/2014/main" id="{D04C729E-290B-9AEC-33DD-C5532C3C3A92}"/>
              </a:ext>
            </a:extLst>
          </p:cNvPr>
          <p:cNvSpPr txBox="1"/>
          <p:nvPr/>
        </p:nvSpPr>
        <p:spPr>
          <a:xfrm>
            <a:off x="907003" y="1554410"/>
            <a:ext cx="10377992" cy="193899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The original </a:t>
            </a:r>
            <a:r>
              <a:rPr lang="en-US" sz="1500" dirty="0" err="1">
                <a:solidFill>
                  <a:prstClr val="black"/>
                </a:solidFill>
              </a:rPr>
              <a:t>json</a:t>
            </a:r>
            <a:r>
              <a:rPr lang="en-US" sz="1500" dirty="0">
                <a:solidFill>
                  <a:prstClr val="black"/>
                </a:solidFill>
              </a:rPr>
              <a:t> file contains 25K new rows was imported into new MongoDB databas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Using </a:t>
            </a:r>
            <a:r>
              <a:rPr lang="en-US" sz="1500" dirty="0" err="1">
                <a:solidFill>
                  <a:prstClr val="black"/>
                </a:solidFill>
              </a:rPr>
              <a:t>PyMongo</a:t>
            </a:r>
            <a:r>
              <a:rPr lang="en-US" sz="1500" dirty="0">
                <a:solidFill>
                  <a:prstClr val="black"/>
                </a:solidFill>
              </a:rPr>
              <a:t>, we’ve connected to MongoDB and by using MQL query we have filtered the dat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Following the filtration, we have got 23,423 customers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Analyze the scheme using MongoDB Compass, adjust the problematic columns and handle missing data (23,418 customers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Use the best model from Part A, Random Forest in our case, to predict chur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Evaluate the accuracy based on train data – 88.68%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Create new CSV file with predicted chur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FD9994D-2986-B29A-E154-E90A900283E7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Process</a:t>
            </a:r>
          </a:p>
        </p:txBody>
      </p:sp>
    </p:spTree>
    <p:extLst>
      <p:ext uri="{BB962C8B-B14F-4D97-AF65-F5344CB8AC3E}">
        <p14:creationId xmlns:p14="http://schemas.microsoft.com/office/powerpoint/2010/main" val="5845126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758166-8861-C486-60C0-82BAE0EEBE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6F45D1A4-EA8D-6850-0F12-8F1EB48EFB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36" name="TextBox 82">
            <a:extLst>
              <a:ext uri="{FF2B5EF4-FFF2-40B4-BE49-F238E27FC236}">
                <a16:creationId xmlns:a16="http://schemas.microsoft.com/office/drawing/2014/main" id="{3DFF2F95-514A-DD10-3521-7F7C3BEE2C96}"/>
              </a:ext>
            </a:extLst>
          </p:cNvPr>
          <p:cNvSpPr txBox="1"/>
          <p:nvPr/>
        </p:nvSpPr>
        <p:spPr>
          <a:xfrm>
            <a:off x="907003" y="895225"/>
            <a:ext cx="10377992" cy="540147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/>
              <a:t>The purpose of this project is to learn and practice various applications we’ve learned during the course.</a:t>
            </a:r>
          </a:p>
          <a:p>
            <a:pPr>
              <a:defRPr/>
            </a:pPr>
            <a:r>
              <a:rPr lang="en-US" sz="1500" dirty="0"/>
              <a:t>We have used the famous Churn dataset which contains customers and attributes and whatever they have churned</a:t>
            </a:r>
          </a:p>
          <a:p>
            <a:pPr>
              <a:defRPr/>
            </a:pPr>
            <a:endParaRPr lang="en-US" sz="1500" dirty="0"/>
          </a:p>
          <a:p>
            <a:pPr>
              <a:defRPr/>
            </a:pPr>
            <a:r>
              <a:rPr lang="en-US" sz="1500" dirty="0"/>
              <a:t>The Project consist of three parts:</a:t>
            </a:r>
          </a:p>
          <a:p>
            <a:pPr>
              <a:defRPr/>
            </a:pPr>
            <a:endParaRPr lang="en-US" sz="1500" dirty="0"/>
          </a:p>
          <a:p>
            <a:pPr>
              <a:defRPr/>
            </a:pPr>
            <a:r>
              <a:rPr lang="en-US" sz="1500" dirty="0">
                <a:solidFill>
                  <a:prstClr val="black"/>
                </a:solidFill>
              </a:rPr>
              <a:t>Part A – Python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Perform EDA &amp; Prep of the Churn datase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Investigate the data, look for trends &amp; insights from the datase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Divide the original churn dataset into test &amp; train sets, and evaluate 3 ML Algorithm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Identify their best hyperparameters to achieve the best accurac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Decide which of them gives the best resul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150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en-US" sz="1500" dirty="0">
                <a:solidFill>
                  <a:prstClr val="black"/>
                </a:solidFill>
              </a:rPr>
              <a:t>Part B – MongoDB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Use MongoDB to import </a:t>
            </a:r>
            <a:r>
              <a:rPr lang="en-US" sz="1500" dirty="0" err="1">
                <a:solidFill>
                  <a:prstClr val="black"/>
                </a:solidFill>
              </a:rPr>
              <a:t>json</a:t>
            </a:r>
            <a:r>
              <a:rPr lang="en-US" sz="1500" dirty="0">
                <a:solidFill>
                  <a:prstClr val="black"/>
                </a:solidFill>
              </a:rPr>
              <a:t> file contains 25K new row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Filter the desired big data using MQL query and create </a:t>
            </a:r>
            <a:r>
              <a:rPr lang="en-US" sz="1500" dirty="0" err="1">
                <a:solidFill>
                  <a:prstClr val="black"/>
                </a:solidFill>
              </a:rPr>
              <a:t>Dataframe</a:t>
            </a:r>
            <a:endParaRPr lang="en-US" sz="1500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Analyze the scheme using MongoDB Compass, clean and adjust the problematic column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Use the original Churn dataset as train data, while the new data is the test dat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Use the best model from Part A to predict churn </a:t>
            </a:r>
          </a:p>
          <a:p>
            <a:pPr>
              <a:defRPr/>
            </a:pPr>
            <a:endParaRPr lang="en-US" sz="150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en-US" sz="1500" dirty="0">
                <a:solidFill>
                  <a:prstClr val="black"/>
                </a:solidFill>
              </a:rPr>
              <a:t>Part D – Tableau Prep &amp; Desktop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Using </a:t>
            </a:r>
            <a:r>
              <a:rPr lang="en-GB" sz="1500" dirty="0">
                <a:solidFill>
                  <a:prstClr val="black"/>
                </a:solidFill>
              </a:rPr>
              <a:t>Tableau Prep create Star scheme model and create hyper file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500" dirty="0">
                <a:solidFill>
                  <a:prstClr val="black"/>
                </a:solidFill>
              </a:rPr>
              <a:t>Clean and prep the data – handle nulls, duplicates et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500" dirty="0">
                <a:solidFill>
                  <a:prstClr val="black"/>
                </a:solidFill>
              </a:rPr>
              <a:t>Using Tableau Desktop create reports &amp; dashboard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775DCBE-4340-9AFC-BB9A-240940FEE101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Project Overview</a:t>
            </a:r>
          </a:p>
        </p:txBody>
      </p:sp>
    </p:spTree>
    <p:extLst>
      <p:ext uri="{BB962C8B-B14F-4D97-AF65-F5344CB8AC3E}">
        <p14:creationId xmlns:p14="http://schemas.microsoft.com/office/powerpoint/2010/main" val="209850327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22EB906-5E9B-AA17-C2D3-29C573C285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B586A0FE-BBA9-2C6F-E8C8-37482D998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4AA1C1-5DE7-50C4-26C1-6AA5B96EA961}"/>
              </a:ext>
            </a:extLst>
          </p:cNvPr>
          <p:cNvSpPr txBox="1"/>
          <p:nvPr/>
        </p:nvSpPr>
        <p:spPr>
          <a:xfrm>
            <a:off x="838200" y="451381"/>
            <a:ext cx="10512552" cy="40665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6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art D:</a:t>
            </a:r>
          </a:p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600" b="1" dirty="0">
                <a:latin typeface="+mj-lt"/>
                <a:ea typeface="+mj-ea"/>
                <a:cs typeface="+mj-cs"/>
              </a:rPr>
              <a:t>Tableau </a:t>
            </a:r>
            <a:endParaRPr lang="en-US" sz="66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sketch line">
            <a:extLst>
              <a:ext uri="{FF2B5EF4-FFF2-40B4-BE49-F238E27FC236}">
                <a16:creationId xmlns:a16="http://schemas.microsoft.com/office/drawing/2014/main" id="{711DB350-A06F-9E5B-5127-033F36FDB4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8200" y="4718595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Trends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4303A15-0A58-7094-A3F3-47A9520C114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993407" y="2659502"/>
            <a:ext cx="2933331" cy="2080622"/>
            <a:chOff x="7067550" y="5861050"/>
            <a:chExt cx="819150" cy="581026"/>
          </a:xfrm>
          <a:solidFill>
            <a:schemeClr val="tx1"/>
          </a:solidFill>
        </p:grpSpPr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4CE860A1-FF68-B5BB-A1D7-E085473A9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7550" y="5886450"/>
              <a:ext cx="431800" cy="473075"/>
            </a:xfrm>
            <a:custGeom>
              <a:avLst/>
              <a:gdLst>
                <a:gd name="T0" fmla="*/ 50 w 605"/>
                <a:gd name="T1" fmla="*/ 50 h 663"/>
                <a:gd name="T2" fmla="*/ 576 w 605"/>
                <a:gd name="T3" fmla="*/ 50 h 663"/>
                <a:gd name="T4" fmla="*/ 605 w 605"/>
                <a:gd name="T5" fmla="*/ 0 h 663"/>
                <a:gd name="T6" fmla="*/ 43 w 605"/>
                <a:gd name="T7" fmla="*/ 0 h 663"/>
                <a:gd name="T8" fmla="*/ 0 w 605"/>
                <a:gd name="T9" fmla="*/ 43 h 663"/>
                <a:gd name="T10" fmla="*/ 0 w 605"/>
                <a:gd name="T11" fmla="*/ 620 h 663"/>
                <a:gd name="T12" fmla="*/ 43 w 605"/>
                <a:gd name="T13" fmla="*/ 663 h 663"/>
                <a:gd name="T14" fmla="*/ 370 w 605"/>
                <a:gd name="T15" fmla="*/ 663 h 663"/>
                <a:gd name="T16" fmla="*/ 370 w 605"/>
                <a:gd name="T17" fmla="*/ 637 h 663"/>
                <a:gd name="T18" fmla="*/ 406 w 605"/>
                <a:gd name="T19" fmla="*/ 533 h 663"/>
                <a:gd name="T20" fmla="*/ 50 w 605"/>
                <a:gd name="T21" fmla="*/ 533 h 663"/>
                <a:gd name="T22" fmla="*/ 50 w 605"/>
                <a:gd name="T23" fmla="*/ 50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5" h="663">
                  <a:moveTo>
                    <a:pt x="50" y="50"/>
                  </a:moveTo>
                  <a:lnTo>
                    <a:pt x="576" y="50"/>
                  </a:lnTo>
                  <a:cubicBezTo>
                    <a:pt x="583" y="32"/>
                    <a:pt x="593" y="15"/>
                    <a:pt x="605" y="0"/>
                  </a:cubicBezTo>
                  <a:lnTo>
                    <a:pt x="43" y="0"/>
                  </a:lnTo>
                  <a:cubicBezTo>
                    <a:pt x="19" y="0"/>
                    <a:pt x="0" y="19"/>
                    <a:pt x="0" y="43"/>
                  </a:cubicBezTo>
                  <a:lnTo>
                    <a:pt x="0" y="620"/>
                  </a:lnTo>
                  <a:cubicBezTo>
                    <a:pt x="0" y="644"/>
                    <a:pt x="19" y="663"/>
                    <a:pt x="43" y="663"/>
                  </a:cubicBezTo>
                  <a:lnTo>
                    <a:pt x="370" y="663"/>
                  </a:lnTo>
                  <a:lnTo>
                    <a:pt x="370" y="637"/>
                  </a:lnTo>
                  <a:cubicBezTo>
                    <a:pt x="370" y="599"/>
                    <a:pt x="383" y="562"/>
                    <a:pt x="406" y="533"/>
                  </a:cubicBezTo>
                  <a:lnTo>
                    <a:pt x="50" y="533"/>
                  </a:lnTo>
                  <a:lnTo>
                    <a:pt x="50" y="5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Rectangle 88">
              <a:extLst>
                <a:ext uri="{FF2B5EF4-FFF2-40B4-BE49-F238E27FC236}">
                  <a16:creationId xmlns:a16="http://schemas.microsoft.com/office/drawing/2014/main" id="{F52F074F-FC2A-5585-9965-C6E96476D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1700" y="6386513"/>
              <a:ext cx="79375" cy="333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89">
              <a:extLst>
                <a:ext uri="{FF2B5EF4-FFF2-40B4-BE49-F238E27FC236}">
                  <a16:creationId xmlns:a16="http://schemas.microsoft.com/office/drawing/2014/main" id="{E4FBC37B-4398-C935-C303-7763FFE9B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9175" y="6145213"/>
              <a:ext cx="517525" cy="296863"/>
            </a:xfrm>
            <a:custGeom>
              <a:avLst/>
              <a:gdLst>
                <a:gd name="T0" fmla="*/ 673 w 728"/>
                <a:gd name="T1" fmla="*/ 175 h 418"/>
                <a:gd name="T2" fmla="*/ 440 w 728"/>
                <a:gd name="T3" fmla="*/ 0 h 418"/>
                <a:gd name="T4" fmla="*/ 290 w 728"/>
                <a:gd name="T5" fmla="*/ 0 h 418"/>
                <a:gd name="T6" fmla="*/ 54 w 728"/>
                <a:gd name="T7" fmla="*/ 175 h 418"/>
                <a:gd name="T8" fmla="*/ 0 w 728"/>
                <a:gd name="T9" fmla="*/ 275 h 418"/>
                <a:gd name="T10" fmla="*/ 0 w 728"/>
                <a:gd name="T11" fmla="*/ 418 h 418"/>
                <a:gd name="T12" fmla="*/ 60 w 728"/>
                <a:gd name="T13" fmla="*/ 418 h 418"/>
                <a:gd name="T14" fmla="*/ 60 w 728"/>
                <a:gd name="T15" fmla="*/ 275 h 418"/>
                <a:gd name="T16" fmla="*/ 119 w 728"/>
                <a:gd name="T17" fmla="*/ 215 h 418"/>
                <a:gd name="T18" fmla="*/ 609 w 728"/>
                <a:gd name="T19" fmla="*/ 215 h 418"/>
                <a:gd name="T20" fmla="*/ 668 w 728"/>
                <a:gd name="T21" fmla="*/ 275 h 418"/>
                <a:gd name="T22" fmla="*/ 668 w 728"/>
                <a:gd name="T23" fmla="*/ 418 h 418"/>
                <a:gd name="T24" fmla="*/ 728 w 728"/>
                <a:gd name="T25" fmla="*/ 418 h 418"/>
                <a:gd name="T26" fmla="*/ 728 w 728"/>
                <a:gd name="T27" fmla="*/ 275 h 418"/>
                <a:gd name="T28" fmla="*/ 673 w 728"/>
                <a:gd name="T29" fmla="*/ 175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8" h="418">
                  <a:moveTo>
                    <a:pt x="673" y="175"/>
                  </a:moveTo>
                  <a:cubicBezTo>
                    <a:pt x="659" y="85"/>
                    <a:pt x="609" y="0"/>
                    <a:pt x="440" y="0"/>
                  </a:cubicBezTo>
                  <a:lnTo>
                    <a:pt x="290" y="0"/>
                  </a:lnTo>
                  <a:cubicBezTo>
                    <a:pt x="118" y="0"/>
                    <a:pt x="68" y="87"/>
                    <a:pt x="54" y="175"/>
                  </a:cubicBezTo>
                  <a:cubicBezTo>
                    <a:pt x="22" y="197"/>
                    <a:pt x="0" y="233"/>
                    <a:pt x="0" y="275"/>
                  </a:cubicBezTo>
                  <a:lnTo>
                    <a:pt x="0" y="418"/>
                  </a:lnTo>
                  <a:lnTo>
                    <a:pt x="60" y="418"/>
                  </a:lnTo>
                  <a:lnTo>
                    <a:pt x="60" y="275"/>
                  </a:lnTo>
                  <a:cubicBezTo>
                    <a:pt x="60" y="242"/>
                    <a:pt x="86" y="215"/>
                    <a:pt x="119" y="215"/>
                  </a:cubicBezTo>
                  <a:lnTo>
                    <a:pt x="609" y="215"/>
                  </a:lnTo>
                  <a:cubicBezTo>
                    <a:pt x="642" y="215"/>
                    <a:pt x="668" y="242"/>
                    <a:pt x="668" y="275"/>
                  </a:cubicBezTo>
                  <a:lnTo>
                    <a:pt x="668" y="418"/>
                  </a:lnTo>
                  <a:lnTo>
                    <a:pt x="728" y="418"/>
                  </a:lnTo>
                  <a:lnTo>
                    <a:pt x="728" y="275"/>
                  </a:lnTo>
                  <a:cubicBezTo>
                    <a:pt x="728" y="233"/>
                    <a:pt x="706" y="196"/>
                    <a:pt x="673" y="17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Oval 90">
              <a:extLst>
                <a:ext uri="{FF2B5EF4-FFF2-40B4-BE49-F238E27FC236}">
                  <a16:creationId xmlns:a16="http://schemas.microsoft.com/office/drawing/2014/main" id="{ECFCADB4-AD97-B77C-862A-CACD89C5D4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2525" y="5861050"/>
              <a:ext cx="252413" cy="25082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91">
              <a:extLst>
                <a:ext uri="{FF2B5EF4-FFF2-40B4-BE49-F238E27FC236}">
                  <a16:creationId xmlns:a16="http://schemas.microsoft.com/office/drawing/2014/main" id="{24C47461-0599-2583-DAFB-F747BE5882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6010275"/>
              <a:ext cx="306388" cy="176213"/>
            </a:xfrm>
            <a:custGeom>
              <a:avLst/>
              <a:gdLst>
                <a:gd name="T0" fmla="*/ 336 w 430"/>
                <a:gd name="T1" fmla="*/ 144 h 249"/>
                <a:gd name="T2" fmla="*/ 331 w 430"/>
                <a:gd name="T3" fmla="*/ 127 h 249"/>
                <a:gd name="T4" fmla="*/ 378 w 430"/>
                <a:gd name="T5" fmla="*/ 77 h 249"/>
                <a:gd name="T6" fmla="*/ 391 w 430"/>
                <a:gd name="T7" fmla="*/ 79 h 249"/>
                <a:gd name="T8" fmla="*/ 430 w 430"/>
                <a:gd name="T9" fmla="*/ 40 h 249"/>
                <a:gd name="T10" fmla="*/ 391 w 430"/>
                <a:gd name="T11" fmla="*/ 0 h 249"/>
                <a:gd name="T12" fmla="*/ 351 w 430"/>
                <a:gd name="T13" fmla="*/ 40 h 249"/>
                <a:gd name="T14" fmla="*/ 354 w 430"/>
                <a:gd name="T15" fmla="*/ 54 h 249"/>
                <a:gd name="T16" fmla="*/ 305 w 430"/>
                <a:gd name="T17" fmla="*/ 106 h 249"/>
                <a:gd name="T18" fmla="*/ 296 w 430"/>
                <a:gd name="T19" fmla="*/ 105 h 249"/>
                <a:gd name="T20" fmla="*/ 272 w 430"/>
                <a:gd name="T21" fmla="*/ 113 h 249"/>
                <a:gd name="T22" fmla="*/ 189 w 430"/>
                <a:gd name="T23" fmla="*/ 84 h 249"/>
                <a:gd name="T24" fmla="*/ 151 w 430"/>
                <a:gd name="T25" fmla="*/ 56 h 249"/>
                <a:gd name="T26" fmla="*/ 112 w 430"/>
                <a:gd name="T27" fmla="*/ 95 h 249"/>
                <a:gd name="T28" fmla="*/ 113 w 430"/>
                <a:gd name="T29" fmla="*/ 106 h 249"/>
                <a:gd name="T30" fmla="*/ 53 w 430"/>
                <a:gd name="T31" fmla="*/ 173 h 249"/>
                <a:gd name="T32" fmla="*/ 39 w 430"/>
                <a:gd name="T33" fmla="*/ 171 h 249"/>
                <a:gd name="T34" fmla="*/ 0 w 430"/>
                <a:gd name="T35" fmla="*/ 210 h 249"/>
                <a:gd name="T36" fmla="*/ 39 w 430"/>
                <a:gd name="T37" fmla="*/ 249 h 249"/>
                <a:gd name="T38" fmla="*/ 79 w 430"/>
                <a:gd name="T39" fmla="*/ 210 h 249"/>
                <a:gd name="T40" fmla="*/ 76 w 430"/>
                <a:gd name="T41" fmla="*/ 198 h 249"/>
                <a:gd name="T42" fmla="*/ 135 w 430"/>
                <a:gd name="T43" fmla="*/ 131 h 249"/>
                <a:gd name="T44" fmla="*/ 151 w 430"/>
                <a:gd name="T45" fmla="*/ 135 h 249"/>
                <a:gd name="T46" fmla="*/ 184 w 430"/>
                <a:gd name="T47" fmla="*/ 118 h 249"/>
                <a:gd name="T48" fmla="*/ 257 w 430"/>
                <a:gd name="T49" fmla="*/ 143 h 249"/>
                <a:gd name="T50" fmla="*/ 257 w 430"/>
                <a:gd name="T51" fmla="*/ 144 h 249"/>
                <a:gd name="T52" fmla="*/ 296 w 430"/>
                <a:gd name="T53" fmla="*/ 184 h 249"/>
                <a:gd name="T54" fmla="*/ 336 w 430"/>
                <a:gd name="T55" fmla="*/ 14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30" h="249">
                  <a:moveTo>
                    <a:pt x="336" y="144"/>
                  </a:moveTo>
                  <a:cubicBezTo>
                    <a:pt x="336" y="138"/>
                    <a:pt x="334" y="132"/>
                    <a:pt x="331" y="127"/>
                  </a:cubicBezTo>
                  <a:lnTo>
                    <a:pt x="378" y="77"/>
                  </a:lnTo>
                  <a:cubicBezTo>
                    <a:pt x="382" y="78"/>
                    <a:pt x="387" y="79"/>
                    <a:pt x="391" y="79"/>
                  </a:cubicBezTo>
                  <a:cubicBezTo>
                    <a:pt x="413" y="79"/>
                    <a:pt x="430" y="62"/>
                    <a:pt x="430" y="40"/>
                  </a:cubicBezTo>
                  <a:cubicBezTo>
                    <a:pt x="430" y="18"/>
                    <a:pt x="413" y="0"/>
                    <a:pt x="391" y="0"/>
                  </a:cubicBezTo>
                  <a:cubicBezTo>
                    <a:pt x="369" y="0"/>
                    <a:pt x="351" y="18"/>
                    <a:pt x="351" y="40"/>
                  </a:cubicBezTo>
                  <a:cubicBezTo>
                    <a:pt x="351" y="45"/>
                    <a:pt x="352" y="50"/>
                    <a:pt x="354" y="54"/>
                  </a:cubicBezTo>
                  <a:lnTo>
                    <a:pt x="305" y="106"/>
                  </a:lnTo>
                  <a:cubicBezTo>
                    <a:pt x="302" y="105"/>
                    <a:pt x="299" y="105"/>
                    <a:pt x="296" y="105"/>
                  </a:cubicBezTo>
                  <a:cubicBezTo>
                    <a:pt x="287" y="105"/>
                    <a:pt x="279" y="108"/>
                    <a:pt x="272" y="113"/>
                  </a:cubicBezTo>
                  <a:lnTo>
                    <a:pt x="189" y="84"/>
                  </a:lnTo>
                  <a:cubicBezTo>
                    <a:pt x="184" y="68"/>
                    <a:pt x="169" y="56"/>
                    <a:pt x="151" y="56"/>
                  </a:cubicBezTo>
                  <a:cubicBezTo>
                    <a:pt x="130" y="56"/>
                    <a:pt x="112" y="74"/>
                    <a:pt x="112" y="95"/>
                  </a:cubicBezTo>
                  <a:cubicBezTo>
                    <a:pt x="112" y="99"/>
                    <a:pt x="113" y="102"/>
                    <a:pt x="113" y="106"/>
                  </a:cubicBezTo>
                  <a:lnTo>
                    <a:pt x="53" y="173"/>
                  </a:lnTo>
                  <a:cubicBezTo>
                    <a:pt x="49" y="172"/>
                    <a:pt x="44" y="171"/>
                    <a:pt x="39" y="171"/>
                  </a:cubicBezTo>
                  <a:cubicBezTo>
                    <a:pt x="17" y="171"/>
                    <a:pt x="0" y="188"/>
                    <a:pt x="0" y="210"/>
                  </a:cubicBezTo>
                  <a:cubicBezTo>
                    <a:pt x="0" y="232"/>
                    <a:pt x="17" y="249"/>
                    <a:pt x="39" y="249"/>
                  </a:cubicBezTo>
                  <a:cubicBezTo>
                    <a:pt x="61" y="249"/>
                    <a:pt x="79" y="232"/>
                    <a:pt x="79" y="210"/>
                  </a:cubicBezTo>
                  <a:cubicBezTo>
                    <a:pt x="79" y="206"/>
                    <a:pt x="78" y="202"/>
                    <a:pt x="76" y="198"/>
                  </a:cubicBezTo>
                  <a:lnTo>
                    <a:pt x="135" y="131"/>
                  </a:lnTo>
                  <a:cubicBezTo>
                    <a:pt x="140" y="134"/>
                    <a:pt x="146" y="135"/>
                    <a:pt x="151" y="135"/>
                  </a:cubicBezTo>
                  <a:cubicBezTo>
                    <a:pt x="165" y="135"/>
                    <a:pt x="177" y="128"/>
                    <a:pt x="184" y="118"/>
                  </a:cubicBezTo>
                  <a:lnTo>
                    <a:pt x="257" y="143"/>
                  </a:lnTo>
                  <a:cubicBezTo>
                    <a:pt x="257" y="144"/>
                    <a:pt x="257" y="144"/>
                    <a:pt x="257" y="144"/>
                  </a:cubicBezTo>
                  <a:cubicBezTo>
                    <a:pt x="257" y="166"/>
                    <a:pt x="274" y="184"/>
                    <a:pt x="296" y="184"/>
                  </a:cubicBezTo>
                  <a:cubicBezTo>
                    <a:pt x="318" y="184"/>
                    <a:pt x="336" y="166"/>
                    <a:pt x="336" y="14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8537829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529846-DB05-DF90-01EE-ECDDA38565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22BC49D9-238D-5597-003F-7E25900B95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36" name="TextBox 82">
            <a:extLst>
              <a:ext uri="{FF2B5EF4-FFF2-40B4-BE49-F238E27FC236}">
                <a16:creationId xmlns:a16="http://schemas.microsoft.com/office/drawing/2014/main" id="{8CA3529D-CEDD-60B9-2E9A-057781E86079}"/>
              </a:ext>
            </a:extLst>
          </p:cNvPr>
          <p:cNvSpPr txBox="1"/>
          <p:nvPr/>
        </p:nvSpPr>
        <p:spPr>
          <a:xfrm>
            <a:off x="907003" y="895225"/>
            <a:ext cx="10377992" cy="378565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/>
              <a:t>Using Tableau Prep, we’ve divided the data into 3 dims and fact table. 4 hyper files were created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b="1" dirty="0" err="1"/>
              <a:t>Dim_Customers</a:t>
            </a:r>
            <a:r>
              <a:rPr lang="en-US" sz="1500" b="1" dirty="0"/>
              <a:t>  </a:t>
            </a:r>
            <a:r>
              <a:rPr lang="en-US" sz="1500" dirty="0"/>
              <a:t>- </a:t>
            </a:r>
            <a:r>
              <a:rPr lang="en-US" sz="1500" dirty="0" err="1"/>
              <a:t>CustomerID</a:t>
            </a:r>
            <a:r>
              <a:rPr lang="en-US" sz="1500" dirty="0"/>
              <a:t>, Gender, </a:t>
            </a:r>
            <a:r>
              <a:rPr lang="en-US" sz="1500" dirty="0" err="1"/>
              <a:t>SeniorCitizen</a:t>
            </a:r>
            <a:r>
              <a:rPr lang="en-US" sz="1500" dirty="0"/>
              <a:t>, Partner, Dependent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b="1" dirty="0" err="1">
                <a:solidFill>
                  <a:prstClr val="black"/>
                </a:solidFill>
              </a:rPr>
              <a:t>Dim_Services</a:t>
            </a:r>
            <a:r>
              <a:rPr lang="en-US" sz="1500" b="1" dirty="0">
                <a:solidFill>
                  <a:prstClr val="black"/>
                </a:solidFill>
              </a:rPr>
              <a:t> </a:t>
            </a:r>
            <a:r>
              <a:rPr lang="en-US" sz="1500" dirty="0">
                <a:solidFill>
                  <a:prstClr val="black"/>
                </a:solidFill>
              </a:rPr>
              <a:t>– </a:t>
            </a:r>
            <a:r>
              <a:rPr lang="en-US" sz="1500" dirty="0" err="1">
                <a:solidFill>
                  <a:prstClr val="black"/>
                </a:solidFill>
              </a:rPr>
              <a:t>PhoneService</a:t>
            </a:r>
            <a:r>
              <a:rPr lang="en-US" sz="1500" dirty="0">
                <a:solidFill>
                  <a:prstClr val="black"/>
                </a:solidFill>
              </a:rPr>
              <a:t>, </a:t>
            </a:r>
            <a:r>
              <a:rPr lang="en-US" sz="1500" dirty="0" err="1">
                <a:solidFill>
                  <a:prstClr val="black"/>
                </a:solidFill>
              </a:rPr>
              <a:t>MultipleLines</a:t>
            </a:r>
            <a:r>
              <a:rPr lang="en-US" sz="1500" dirty="0">
                <a:solidFill>
                  <a:prstClr val="black"/>
                </a:solidFill>
              </a:rPr>
              <a:t>, </a:t>
            </a:r>
            <a:r>
              <a:rPr lang="en-US" sz="1500" dirty="0" err="1">
                <a:solidFill>
                  <a:prstClr val="black"/>
                </a:solidFill>
              </a:rPr>
              <a:t>InternetService</a:t>
            </a:r>
            <a:r>
              <a:rPr lang="en-US" sz="1500" dirty="0">
                <a:solidFill>
                  <a:prstClr val="black"/>
                </a:solidFill>
              </a:rPr>
              <a:t>, </a:t>
            </a:r>
            <a:r>
              <a:rPr lang="en-US" sz="1500" dirty="0" err="1">
                <a:solidFill>
                  <a:prstClr val="black"/>
                </a:solidFill>
              </a:rPr>
              <a:t>OnlineSecurity</a:t>
            </a:r>
            <a:r>
              <a:rPr lang="en-US" sz="1500" dirty="0">
                <a:solidFill>
                  <a:prstClr val="black"/>
                </a:solidFill>
              </a:rPr>
              <a:t>, </a:t>
            </a:r>
            <a:r>
              <a:rPr lang="en-US" sz="1500" dirty="0" err="1">
                <a:solidFill>
                  <a:prstClr val="black"/>
                </a:solidFill>
              </a:rPr>
              <a:t>OnlineBackup</a:t>
            </a:r>
            <a:r>
              <a:rPr lang="en-US" sz="1500" dirty="0">
                <a:solidFill>
                  <a:prstClr val="black"/>
                </a:solidFill>
              </a:rPr>
              <a:t>, </a:t>
            </a:r>
            <a:r>
              <a:rPr lang="en-US" sz="1500" dirty="0" err="1">
                <a:solidFill>
                  <a:prstClr val="black"/>
                </a:solidFill>
              </a:rPr>
              <a:t>DeviceProtection</a:t>
            </a:r>
            <a:r>
              <a:rPr lang="en-US" sz="1500" dirty="0">
                <a:solidFill>
                  <a:prstClr val="black"/>
                </a:solidFill>
              </a:rPr>
              <a:t>, </a:t>
            </a:r>
            <a:r>
              <a:rPr lang="en-US" sz="1500" dirty="0" err="1">
                <a:solidFill>
                  <a:prstClr val="black"/>
                </a:solidFill>
              </a:rPr>
              <a:t>TechSupport</a:t>
            </a:r>
            <a:r>
              <a:rPr lang="en-US" sz="1500" dirty="0">
                <a:solidFill>
                  <a:prstClr val="black"/>
                </a:solidFill>
              </a:rPr>
              <a:t>, </a:t>
            </a:r>
            <a:r>
              <a:rPr lang="en-US" sz="1500" dirty="0" err="1">
                <a:solidFill>
                  <a:prstClr val="black"/>
                </a:solidFill>
              </a:rPr>
              <a:t>StreamingTV</a:t>
            </a:r>
            <a:r>
              <a:rPr lang="en-US" sz="1500" dirty="0">
                <a:solidFill>
                  <a:prstClr val="black"/>
                </a:solidFill>
              </a:rPr>
              <a:t>, </a:t>
            </a:r>
            <a:r>
              <a:rPr lang="en-US" sz="1500" dirty="0" err="1">
                <a:solidFill>
                  <a:prstClr val="black"/>
                </a:solidFill>
              </a:rPr>
              <a:t>StreamingMovies</a:t>
            </a:r>
            <a:endParaRPr lang="en-US" sz="1500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b="1" dirty="0" err="1">
                <a:solidFill>
                  <a:prstClr val="black"/>
                </a:solidFill>
              </a:rPr>
              <a:t>Dim_Contract</a:t>
            </a:r>
            <a:r>
              <a:rPr lang="en-US" sz="1500" b="1" dirty="0">
                <a:solidFill>
                  <a:prstClr val="black"/>
                </a:solidFill>
              </a:rPr>
              <a:t> </a:t>
            </a:r>
            <a:r>
              <a:rPr lang="en-US" sz="1500" dirty="0">
                <a:solidFill>
                  <a:prstClr val="black"/>
                </a:solidFill>
              </a:rPr>
              <a:t>– Tenure, </a:t>
            </a:r>
            <a:r>
              <a:rPr lang="en-GB" sz="1500" dirty="0"/>
              <a:t>Contract type, </a:t>
            </a:r>
            <a:r>
              <a:rPr lang="en-GB" sz="1500" dirty="0" err="1"/>
              <a:t>PaperlessBilling</a:t>
            </a:r>
            <a:r>
              <a:rPr lang="en-GB" sz="1500" dirty="0"/>
              <a:t>, </a:t>
            </a:r>
            <a:r>
              <a:rPr lang="en-GB" sz="1500" dirty="0" err="1"/>
              <a:t>PaymentMethod</a:t>
            </a:r>
            <a:r>
              <a:rPr lang="en-GB" sz="1500" dirty="0"/>
              <a:t> (Tenure is handled as Dim and not as measure, therefore it’s not listed under Fact table)</a:t>
            </a:r>
            <a:endParaRPr lang="en-US" sz="1500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b="1" dirty="0">
                <a:solidFill>
                  <a:prstClr val="black"/>
                </a:solidFill>
              </a:rPr>
              <a:t>Fact</a:t>
            </a:r>
            <a:r>
              <a:rPr lang="en-US" sz="1500" dirty="0">
                <a:solidFill>
                  <a:prstClr val="black"/>
                </a:solidFill>
              </a:rPr>
              <a:t> - </a:t>
            </a:r>
            <a:r>
              <a:rPr lang="en-US" sz="1500" dirty="0" err="1">
                <a:solidFill>
                  <a:prstClr val="black"/>
                </a:solidFill>
              </a:rPr>
              <a:t>MonthlyCharges</a:t>
            </a:r>
            <a:r>
              <a:rPr lang="en-US" sz="1500" dirty="0">
                <a:solidFill>
                  <a:prstClr val="black"/>
                </a:solidFill>
              </a:rPr>
              <a:t>, </a:t>
            </a:r>
            <a:r>
              <a:rPr lang="en-US" sz="1500" dirty="0" err="1">
                <a:solidFill>
                  <a:prstClr val="black"/>
                </a:solidFill>
              </a:rPr>
              <a:t>TotalCharges</a:t>
            </a:r>
            <a:r>
              <a:rPr lang="en-US" sz="1500" dirty="0">
                <a:solidFill>
                  <a:prstClr val="black"/>
                </a:solidFill>
              </a:rPr>
              <a:t>, Churn</a:t>
            </a:r>
          </a:p>
          <a:p>
            <a:pPr>
              <a:defRPr/>
            </a:pPr>
            <a:endParaRPr lang="en-US" sz="1500" dirty="0">
              <a:solidFill>
                <a:prstClr val="black"/>
              </a:solidFill>
              <a:highlight>
                <a:srgbClr val="FFFF00"/>
              </a:highlight>
            </a:endParaRPr>
          </a:p>
          <a:p>
            <a:pPr>
              <a:defRPr/>
            </a:pPr>
            <a:r>
              <a:rPr lang="en-US" sz="1500" dirty="0"/>
              <a:t>Data was cleaned from missing or null values, </a:t>
            </a:r>
          </a:p>
          <a:p>
            <a:pPr>
              <a:defRPr/>
            </a:pPr>
            <a:r>
              <a:rPr lang="en-US" sz="1500" dirty="0"/>
              <a:t>Total charges nulls were taken care of in Prep phase on Mongo Part B</a:t>
            </a:r>
          </a:p>
          <a:p>
            <a:pPr>
              <a:defRPr/>
            </a:pPr>
            <a:endParaRPr lang="en-US" sz="1500" dirty="0"/>
          </a:p>
          <a:p>
            <a:pPr>
              <a:defRPr/>
            </a:pPr>
            <a:r>
              <a:rPr lang="en-US" sz="1500" dirty="0"/>
              <a:t>Filtering the duplication narrowed down the dim tables as followed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 err="1"/>
              <a:t>Dim_Contract</a:t>
            </a:r>
            <a:r>
              <a:rPr lang="en-US" sz="1500" dirty="0"/>
              <a:t> from ~24K to 1.5K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 err="1"/>
              <a:t>Dim_Services</a:t>
            </a:r>
            <a:r>
              <a:rPr lang="en-US" sz="1500" dirty="0"/>
              <a:t> from ~24K to 6.7K </a:t>
            </a:r>
          </a:p>
          <a:p>
            <a:pPr>
              <a:defRPr/>
            </a:pPr>
            <a:endParaRPr lang="en-US" sz="1500" dirty="0"/>
          </a:p>
          <a:p>
            <a:pPr>
              <a:defRPr/>
            </a:pPr>
            <a:r>
              <a:rPr lang="en-US" sz="1500" dirty="0"/>
              <a:t>Star scheme model was created </a:t>
            </a: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5472812-3BBF-6C68-287F-B13A90DC3C61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Tableau Prep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A23B01-935F-1135-2910-27E7E50DBB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0967" y="3764016"/>
            <a:ext cx="6153336" cy="29904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9835548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9FEC27-1DBD-9F56-6FB4-F691110C69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63181FF4-73E1-C63E-EFE1-9B5F824A43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36" name="TextBox 82">
            <a:extLst>
              <a:ext uri="{FF2B5EF4-FFF2-40B4-BE49-F238E27FC236}">
                <a16:creationId xmlns:a16="http://schemas.microsoft.com/office/drawing/2014/main" id="{47CE1D0C-F37F-FAEA-CC24-0922142639B0}"/>
              </a:ext>
            </a:extLst>
          </p:cNvPr>
          <p:cNvSpPr txBox="1"/>
          <p:nvPr/>
        </p:nvSpPr>
        <p:spPr>
          <a:xfrm>
            <a:off x="217282" y="906525"/>
            <a:ext cx="11974717" cy="78483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/>
              <a:t>Due to low churn customers (341 out of 24K), we filtered &amp; created charts only the churned customers (Churn=1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/>
              <a:t>New Calculated fields: Count Churn, Sum Tenure, Max &amp; Min monthly charges, average churn tenure, tenure groups, monthly charges group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/>
              <a:t>Percentage of total table calculation to analyze the portion of churn impac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A77668C-F11E-D671-094F-852E60974FCF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Tableau Desktop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6F5BC23-907A-6311-960C-A61AD87304C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520"/>
          <a:stretch/>
        </p:blipFill>
        <p:spPr>
          <a:xfrm>
            <a:off x="1626202" y="1702655"/>
            <a:ext cx="9156876" cy="5069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5315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FF7F8F5-7812-E529-DB85-CB3244B237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93841E2B-635F-54B2-4BFF-73E9635E1D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23C7EA-3681-2868-AE08-ED8354051441}"/>
              </a:ext>
            </a:extLst>
          </p:cNvPr>
          <p:cNvSpPr txBox="1"/>
          <p:nvPr/>
        </p:nvSpPr>
        <p:spPr>
          <a:xfrm>
            <a:off x="838200" y="451381"/>
            <a:ext cx="10512552" cy="40665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600" b="1" dirty="0">
                <a:latin typeface="+mj-lt"/>
                <a:ea typeface="+mj-ea"/>
                <a:cs typeface="+mj-cs"/>
              </a:rPr>
              <a:t>Conclusions</a:t>
            </a:r>
            <a:endParaRPr lang="en-US" sz="66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sketch line">
            <a:extLst>
              <a:ext uri="{FF2B5EF4-FFF2-40B4-BE49-F238E27FC236}">
                <a16:creationId xmlns:a16="http://schemas.microsoft.com/office/drawing/2014/main" id="{E62EC1CF-62D7-5692-3B66-F4E0A6717C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8200" y="4718595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Trends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50B2F6E-2A48-C8DE-2F24-ECE818676B2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993407" y="2659502"/>
            <a:ext cx="2933331" cy="2080622"/>
            <a:chOff x="7067550" y="5861050"/>
            <a:chExt cx="819150" cy="581026"/>
          </a:xfrm>
          <a:solidFill>
            <a:schemeClr val="tx1"/>
          </a:solidFill>
        </p:grpSpPr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A5678E44-7A06-10F7-BBFE-3398B35A4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7550" y="5886450"/>
              <a:ext cx="431800" cy="473075"/>
            </a:xfrm>
            <a:custGeom>
              <a:avLst/>
              <a:gdLst>
                <a:gd name="T0" fmla="*/ 50 w 605"/>
                <a:gd name="T1" fmla="*/ 50 h 663"/>
                <a:gd name="T2" fmla="*/ 576 w 605"/>
                <a:gd name="T3" fmla="*/ 50 h 663"/>
                <a:gd name="T4" fmla="*/ 605 w 605"/>
                <a:gd name="T5" fmla="*/ 0 h 663"/>
                <a:gd name="T6" fmla="*/ 43 w 605"/>
                <a:gd name="T7" fmla="*/ 0 h 663"/>
                <a:gd name="T8" fmla="*/ 0 w 605"/>
                <a:gd name="T9" fmla="*/ 43 h 663"/>
                <a:gd name="T10" fmla="*/ 0 w 605"/>
                <a:gd name="T11" fmla="*/ 620 h 663"/>
                <a:gd name="T12" fmla="*/ 43 w 605"/>
                <a:gd name="T13" fmla="*/ 663 h 663"/>
                <a:gd name="T14" fmla="*/ 370 w 605"/>
                <a:gd name="T15" fmla="*/ 663 h 663"/>
                <a:gd name="T16" fmla="*/ 370 w 605"/>
                <a:gd name="T17" fmla="*/ 637 h 663"/>
                <a:gd name="T18" fmla="*/ 406 w 605"/>
                <a:gd name="T19" fmla="*/ 533 h 663"/>
                <a:gd name="T20" fmla="*/ 50 w 605"/>
                <a:gd name="T21" fmla="*/ 533 h 663"/>
                <a:gd name="T22" fmla="*/ 50 w 605"/>
                <a:gd name="T23" fmla="*/ 50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5" h="663">
                  <a:moveTo>
                    <a:pt x="50" y="50"/>
                  </a:moveTo>
                  <a:lnTo>
                    <a:pt x="576" y="50"/>
                  </a:lnTo>
                  <a:cubicBezTo>
                    <a:pt x="583" y="32"/>
                    <a:pt x="593" y="15"/>
                    <a:pt x="605" y="0"/>
                  </a:cubicBezTo>
                  <a:lnTo>
                    <a:pt x="43" y="0"/>
                  </a:lnTo>
                  <a:cubicBezTo>
                    <a:pt x="19" y="0"/>
                    <a:pt x="0" y="19"/>
                    <a:pt x="0" y="43"/>
                  </a:cubicBezTo>
                  <a:lnTo>
                    <a:pt x="0" y="620"/>
                  </a:lnTo>
                  <a:cubicBezTo>
                    <a:pt x="0" y="644"/>
                    <a:pt x="19" y="663"/>
                    <a:pt x="43" y="663"/>
                  </a:cubicBezTo>
                  <a:lnTo>
                    <a:pt x="370" y="663"/>
                  </a:lnTo>
                  <a:lnTo>
                    <a:pt x="370" y="637"/>
                  </a:lnTo>
                  <a:cubicBezTo>
                    <a:pt x="370" y="599"/>
                    <a:pt x="383" y="562"/>
                    <a:pt x="406" y="533"/>
                  </a:cubicBezTo>
                  <a:lnTo>
                    <a:pt x="50" y="533"/>
                  </a:lnTo>
                  <a:lnTo>
                    <a:pt x="50" y="5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Rectangle 88">
              <a:extLst>
                <a:ext uri="{FF2B5EF4-FFF2-40B4-BE49-F238E27FC236}">
                  <a16:creationId xmlns:a16="http://schemas.microsoft.com/office/drawing/2014/main" id="{6032DA7F-DD49-4B8F-2A10-55E23E9D4F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1700" y="6386513"/>
              <a:ext cx="79375" cy="333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89">
              <a:extLst>
                <a:ext uri="{FF2B5EF4-FFF2-40B4-BE49-F238E27FC236}">
                  <a16:creationId xmlns:a16="http://schemas.microsoft.com/office/drawing/2014/main" id="{406B5411-7133-7A72-C280-BCE859736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9175" y="6145213"/>
              <a:ext cx="517525" cy="296863"/>
            </a:xfrm>
            <a:custGeom>
              <a:avLst/>
              <a:gdLst>
                <a:gd name="T0" fmla="*/ 673 w 728"/>
                <a:gd name="T1" fmla="*/ 175 h 418"/>
                <a:gd name="T2" fmla="*/ 440 w 728"/>
                <a:gd name="T3" fmla="*/ 0 h 418"/>
                <a:gd name="T4" fmla="*/ 290 w 728"/>
                <a:gd name="T5" fmla="*/ 0 h 418"/>
                <a:gd name="T6" fmla="*/ 54 w 728"/>
                <a:gd name="T7" fmla="*/ 175 h 418"/>
                <a:gd name="T8" fmla="*/ 0 w 728"/>
                <a:gd name="T9" fmla="*/ 275 h 418"/>
                <a:gd name="T10" fmla="*/ 0 w 728"/>
                <a:gd name="T11" fmla="*/ 418 h 418"/>
                <a:gd name="T12" fmla="*/ 60 w 728"/>
                <a:gd name="T13" fmla="*/ 418 h 418"/>
                <a:gd name="T14" fmla="*/ 60 w 728"/>
                <a:gd name="T15" fmla="*/ 275 h 418"/>
                <a:gd name="T16" fmla="*/ 119 w 728"/>
                <a:gd name="T17" fmla="*/ 215 h 418"/>
                <a:gd name="T18" fmla="*/ 609 w 728"/>
                <a:gd name="T19" fmla="*/ 215 h 418"/>
                <a:gd name="T20" fmla="*/ 668 w 728"/>
                <a:gd name="T21" fmla="*/ 275 h 418"/>
                <a:gd name="T22" fmla="*/ 668 w 728"/>
                <a:gd name="T23" fmla="*/ 418 h 418"/>
                <a:gd name="T24" fmla="*/ 728 w 728"/>
                <a:gd name="T25" fmla="*/ 418 h 418"/>
                <a:gd name="T26" fmla="*/ 728 w 728"/>
                <a:gd name="T27" fmla="*/ 275 h 418"/>
                <a:gd name="T28" fmla="*/ 673 w 728"/>
                <a:gd name="T29" fmla="*/ 175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8" h="418">
                  <a:moveTo>
                    <a:pt x="673" y="175"/>
                  </a:moveTo>
                  <a:cubicBezTo>
                    <a:pt x="659" y="85"/>
                    <a:pt x="609" y="0"/>
                    <a:pt x="440" y="0"/>
                  </a:cubicBezTo>
                  <a:lnTo>
                    <a:pt x="290" y="0"/>
                  </a:lnTo>
                  <a:cubicBezTo>
                    <a:pt x="118" y="0"/>
                    <a:pt x="68" y="87"/>
                    <a:pt x="54" y="175"/>
                  </a:cubicBezTo>
                  <a:cubicBezTo>
                    <a:pt x="22" y="197"/>
                    <a:pt x="0" y="233"/>
                    <a:pt x="0" y="275"/>
                  </a:cubicBezTo>
                  <a:lnTo>
                    <a:pt x="0" y="418"/>
                  </a:lnTo>
                  <a:lnTo>
                    <a:pt x="60" y="418"/>
                  </a:lnTo>
                  <a:lnTo>
                    <a:pt x="60" y="275"/>
                  </a:lnTo>
                  <a:cubicBezTo>
                    <a:pt x="60" y="242"/>
                    <a:pt x="86" y="215"/>
                    <a:pt x="119" y="215"/>
                  </a:cubicBezTo>
                  <a:lnTo>
                    <a:pt x="609" y="215"/>
                  </a:lnTo>
                  <a:cubicBezTo>
                    <a:pt x="642" y="215"/>
                    <a:pt x="668" y="242"/>
                    <a:pt x="668" y="275"/>
                  </a:cubicBezTo>
                  <a:lnTo>
                    <a:pt x="668" y="418"/>
                  </a:lnTo>
                  <a:lnTo>
                    <a:pt x="728" y="418"/>
                  </a:lnTo>
                  <a:lnTo>
                    <a:pt x="728" y="275"/>
                  </a:lnTo>
                  <a:cubicBezTo>
                    <a:pt x="728" y="233"/>
                    <a:pt x="706" y="196"/>
                    <a:pt x="673" y="17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Oval 90">
              <a:extLst>
                <a:ext uri="{FF2B5EF4-FFF2-40B4-BE49-F238E27FC236}">
                  <a16:creationId xmlns:a16="http://schemas.microsoft.com/office/drawing/2014/main" id="{9C9F992A-DB65-CE3F-7034-2864F1918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2525" y="5861050"/>
              <a:ext cx="252413" cy="25082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91">
              <a:extLst>
                <a:ext uri="{FF2B5EF4-FFF2-40B4-BE49-F238E27FC236}">
                  <a16:creationId xmlns:a16="http://schemas.microsoft.com/office/drawing/2014/main" id="{A3825207-5E64-73BB-0971-3A5EBAE54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6010275"/>
              <a:ext cx="306388" cy="176213"/>
            </a:xfrm>
            <a:custGeom>
              <a:avLst/>
              <a:gdLst>
                <a:gd name="T0" fmla="*/ 336 w 430"/>
                <a:gd name="T1" fmla="*/ 144 h 249"/>
                <a:gd name="T2" fmla="*/ 331 w 430"/>
                <a:gd name="T3" fmla="*/ 127 h 249"/>
                <a:gd name="T4" fmla="*/ 378 w 430"/>
                <a:gd name="T5" fmla="*/ 77 h 249"/>
                <a:gd name="T6" fmla="*/ 391 w 430"/>
                <a:gd name="T7" fmla="*/ 79 h 249"/>
                <a:gd name="T8" fmla="*/ 430 w 430"/>
                <a:gd name="T9" fmla="*/ 40 h 249"/>
                <a:gd name="T10" fmla="*/ 391 w 430"/>
                <a:gd name="T11" fmla="*/ 0 h 249"/>
                <a:gd name="T12" fmla="*/ 351 w 430"/>
                <a:gd name="T13" fmla="*/ 40 h 249"/>
                <a:gd name="T14" fmla="*/ 354 w 430"/>
                <a:gd name="T15" fmla="*/ 54 h 249"/>
                <a:gd name="T16" fmla="*/ 305 w 430"/>
                <a:gd name="T17" fmla="*/ 106 h 249"/>
                <a:gd name="T18" fmla="*/ 296 w 430"/>
                <a:gd name="T19" fmla="*/ 105 h 249"/>
                <a:gd name="T20" fmla="*/ 272 w 430"/>
                <a:gd name="T21" fmla="*/ 113 h 249"/>
                <a:gd name="T22" fmla="*/ 189 w 430"/>
                <a:gd name="T23" fmla="*/ 84 h 249"/>
                <a:gd name="T24" fmla="*/ 151 w 430"/>
                <a:gd name="T25" fmla="*/ 56 h 249"/>
                <a:gd name="T26" fmla="*/ 112 w 430"/>
                <a:gd name="T27" fmla="*/ 95 h 249"/>
                <a:gd name="T28" fmla="*/ 113 w 430"/>
                <a:gd name="T29" fmla="*/ 106 h 249"/>
                <a:gd name="T30" fmla="*/ 53 w 430"/>
                <a:gd name="T31" fmla="*/ 173 h 249"/>
                <a:gd name="T32" fmla="*/ 39 w 430"/>
                <a:gd name="T33" fmla="*/ 171 h 249"/>
                <a:gd name="T34" fmla="*/ 0 w 430"/>
                <a:gd name="T35" fmla="*/ 210 h 249"/>
                <a:gd name="T36" fmla="*/ 39 w 430"/>
                <a:gd name="T37" fmla="*/ 249 h 249"/>
                <a:gd name="T38" fmla="*/ 79 w 430"/>
                <a:gd name="T39" fmla="*/ 210 h 249"/>
                <a:gd name="T40" fmla="*/ 76 w 430"/>
                <a:gd name="T41" fmla="*/ 198 h 249"/>
                <a:gd name="T42" fmla="*/ 135 w 430"/>
                <a:gd name="T43" fmla="*/ 131 h 249"/>
                <a:gd name="T44" fmla="*/ 151 w 430"/>
                <a:gd name="T45" fmla="*/ 135 h 249"/>
                <a:gd name="T46" fmla="*/ 184 w 430"/>
                <a:gd name="T47" fmla="*/ 118 h 249"/>
                <a:gd name="T48" fmla="*/ 257 w 430"/>
                <a:gd name="T49" fmla="*/ 143 h 249"/>
                <a:gd name="T50" fmla="*/ 257 w 430"/>
                <a:gd name="T51" fmla="*/ 144 h 249"/>
                <a:gd name="T52" fmla="*/ 296 w 430"/>
                <a:gd name="T53" fmla="*/ 184 h 249"/>
                <a:gd name="T54" fmla="*/ 336 w 430"/>
                <a:gd name="T55" fmla="*/ 14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30" h="249">
                  <a:moveTo>
                    <a:pt x="336" y="144"/>
                  </a:moveTo>
                  <a:cubicBezTo>
                    <a:pt x="336" y="138"/>
                    <a:pt x="334" y="132"/>
                    <a:pt x="331" y="127"/>
                  </a:cubicBezTo>
                  <a:lnTo>
                    <a:pt x="378" y="77"/>
                  </a:lnTo>
                  <a:cubicBezTo>
                    <a:pt x="382" y="78"/>
                    <a:pt x="387" y="79"/>
                    <a:pt x="391" y="79"/>
                  </a:cubicBezTo>
                  <a:cubicBezTo>
                    <a:pt x="413" y="79"/>
                    <a:pt x="430" y="62"/>
                    <a:pt x="430" y="40"/>
                  </a:cubicBezTo>
                  <a:cubicBezTo>
                    <a:pt x="430" y="18"/>
                    <a:pt x="413" y="0"/>
                    <a:pt x="391" y="0"/>
                  </a:cubicBezTo>
                  <a:cubicBezTo>
                    <a:pt x="369" y="0"/>
                    <a:pt x="351" y="18"/>
                    <a:pt x="351" y="40"/>
                  </a:cubicBezTo>
                  <a:cubicBezTo>
                    <a:pt x="351" y="45"/>
                    <a:pt x="352" y="50"/>
                    <a:pt x="354" y="54"/>
                  </a:cubicBezTo>
                  <a:lnTo>
                    <a:pt x="305" y="106"/>
                  </a:lnTo>
                  <a:cubicBezTo>
                    <a:pt x="302" y="105"/>
                    <a:pt x="299" y="105"/>
                    <a:pt x="296" y="105"/>
                  </a:cubicBezTo>
                  <a:cubicBezTo>
                    <a:pt x="287" y="105"/>
                    <a:pt x="279" y="108"/>
                    <a:pt x="272" y="113"/>
                  </a:cubicBezTo>
                  <a:lnTo>
                    <a:pt x="189" y="84"/>
                  </a:lnTo>
                  <a:cubicBezTo>
                    <a:pt x="184" y="68"/>
                    <a:pt x="169" y="56"/>
                    <a:pt x="151" y="56"/>
                  </a:cubicBezTo>
                  <a:cubicBezTo>
                    <a:pt x="130" y="56"/>
                    <a:pt x="112" y="74"/>
                    <a:pt x="112" y="95"/>
                  </a:cubicBezTo>
                  <a:cubicBezTo>
                    <a:pt x="112" y="99"/>
                    <a:pt x="113" y="102"/>
                    <a:pt x="113" y="106"/>
                  </a:cubicBezTo>
                  <a:lnTo>
                    <a:pt x="53" y="173"/>
                  </a:lnTo>
                  <a:cubicBezTo>
                    <a:pt x="49" y="172"/>
                    <a:pt x="44" y="171"/>
                    <a:pt x="39" y="171"/>
                  </a:cubicBezTo>
                  <a:cubicBezTo>
                    <a:pt x="17" y="171"/>
                    <a:pt x="0" y="188"/>
                    <a:pt x="0" y="210"/>
                  </a:cubicBezTo>
                  <a:cubicBezTo>
                    <a:pt x="0" y="232"/>
                    <a:pt x="17" y="249"/>
                    <a:pt x="39" y="249"/>
                  </a:cubicBezTo>
                  <a:cubicBezTo>
                    <a:pt x="61" y="249"/>
                    <a:pt x="79" y="232"/>
                    <a:pt x="79" y="210"/>
                  </a:cubicBezTo>
                  <a:cubicBezTo>
                    <a:pt x="79" y="206"/>
                    <a:pt x="78" y="202"/>
                    <a:pt x="76" y="198"/>
                  </a:cubicBezTo>
                  <a:lnTo>
                    <a:pt x="135" y="131"/>
                  </a:lnTo>
                  <a:cubicBezTo>
                    <a:pt x="140" y="134"/>
                    <a:pt x="146" y="135"/>
                    <a:pt x="151" y="135"/>
                  </a:cubicBezTo>
                  <a:cubicBezTo>
                    <a:pt x="165" y="135"/>
                    <a:pt x="177" y="128"/>
                    <a:pt x="184" y="118"/>
                  </a:cubicBezTo>
                  <a:lnTo>
                    <a:pt x="257" y="143"/>
                  </a:lnTo>
                  <a:cubicBezTo>
                    <a:pt x="257" y="144"/>
                    <a:pt x="257" y="144"/>
                    <a:pt x="257" y="144"/>
                  </a:cubicBezTo>
                  <a:cubicBezTo>
                    <a:pt x="257" y="166"/>
                    <a:pt x="274" y="184"/>
                    <a:pt x="296" y="184"/>
                  </a:cubicBezTo>
                  <a:cubicBezTo>
                    <a:pt x="318" y="184"/>
                    <a:pt x="336" y="166"/>
                    <a:pt x="336" y="14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45617533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98B1C-4154-916D-5291-F5A1890D64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8F2155A5-6076-1D22-619A-DF6B340A89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36" name="TextBox 82">
            <a:extLst>
              <a:ext uri="{FF2B5EF4-FFF2-40B4-BE49-F238E27FC236}">
                <a16:creationId xmlns:a16="http://schemas.microsoft.com/office/drawing/2014/main" id="{6566495E-59D0-F66B-F591-24C2317036AB}"/>
              </a:ext>
            </a:extLst>
          </p:cNvPr>
          <p:cNvSpPr txBox="1"/>
          <p:nvPr/>
        </p:nvSpPr>
        <p:spPr>
          <a:xfrm>
            <a:off x="907003" y="969635"/>
            <a:ext cx="10377992" cy="193899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/>
              <a:t>After analyzing churn data of this company, we have come up with strategic plan to lower churn customers and improve loyalty.</a:t>
            </a:r>
          </a:p>
          <a:p>
            <a:pPr>
              <a:defRPr/>
            </a:pPr>
            <a:r>
              <a:rPr lang="en-US" sz="1500" dirty="0"/>
              <a:t>We will show the analysis steps and insights, followed by programs we suggest to the company should adopt. </a:t>
            </a:r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>
              <a:solidFill>
                <a:prstClr val="black"/>
              </a:solidFill>
            </a:endParaRPr>
          </a:p>
          <a:p>
            <a:pPr>
              <a:defRPr/>
            </a:pPr>
            <a:endParaRPr lang="en-US" sz="1500" dirty="0">
              <a:solidFill>
                <a:prstClr val="black"/>
              </a:solidFill>
            </a:endParaRPr>
          </a:p>
          <a:p>
            <a:pPr>
              <a:defRPr/>
            </a:pP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6A89E10-E51D-8E9E-5B22-D4B65FB2C472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Conclusions</a:t>
            </a:r>
          </a:p>
        </p:txBody>
      </p:sp>
      <p:sp>
        <p:nvSpPr>
          <p:cNvPr id="6" name="TextBox 82">
            <a:extLst>
              <a:ext uri="{FF2B5EF4-FFF2-40B4-BE49-F238E27FC236}">
                <a16:creationId xmlns:a16="http://schemas.microsoft.com/office/drawing/2014/main" id="{4B730684-7CEB-9FF0-B0B4-AD6BEDD12CE4}"/>
              </a:ext>
            </a:extLst>
          </p:cNvPr>
          <p:cNvSpPr txBox="1"/>
          <p:nvPr/>
        </p:nvSpPr>
        <p:spPr>
          <a:xfrm>
            <a:off x="898022" y="2833615"/>
            <a:ext cx="2311344" cy="240065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/>
              <a:t>77% of customers without Tech Support churn</a:t>
            </a:r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r>
              <a:rPr lang="en-US" sz="1500" dirty="0"/>
              <a:t>56% of customers with Device Protection will not churn</a:t>
            </a: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7" name="TextBox 82">
            <a:extLst>
              <a:ext uri="{FF2B5EF4-FFF2-40B4-BE49-F238E27FC236}">
                <a16:creationId xmlns:a16="http://schemas.microsoft.com/office/drawing/2014/main" id="{7654160E-B94C-12F2-B41C-BD6335C65E51}"/>
              </a:ext>
            </a:extLst>
          </p:cNvPr>
          <p:cNvSpPr txBox="1"/>
          <p:nvPr/>
        </p:nvSpPr>
        <p:spPr>
          <a:xfrm>
            <a:off x="9509392" y="2518213"/>
            <a:ext cx="2385439" cy="286232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/>
              <a:t>81% of customers without Online Security churn.</a:t>
            </a:r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r>
              <a:rPr lang="en-US" sz="1500" dirty="0"/>
              <a:t>95% of customers with Fiber Optic ISP chur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D6B3890-DDA1-0EB7-D5F4-B00FAC19AFC6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519" t="9989" r="64724" b="34084"/>
          <a:stretch/>
        </p:blipFill>
        <p:spPr>
          <a:xfrm>
            <a:off x="3570202" y="1884684"/>
            <a:ext cx="4758985" cy="4217289"/>
          </a:xfrm>
          <a:prstGeom prst="rect">
            <a:avLst/>
          </a:prstGeom>
        </p:spPr>
      </p:pic>
      <p:sp>
        <p:nvSpPr>
          <p:cNvPr id="13" name="Target">
            <a:extLst>
              <a:ext uri="{FF2B5EF4-FFF2-40B4-BE49-F238E27FC236}">
                <a16:creationId xmlns:a16="http://schemas.microsoft.com/office/drawing/2014/main" id="{9CDB0469-D723-A95F-CE1B-E4A42BC97A26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 rot="3458825" flipH="1">
            <a:off x="2486768" y="2063457"/>
            <a:ext cx="953785" cy="964108"/>
          </a:xfrm>
          <a:custGeom>
            <a:avLst/>
            <a:gdLst>
              <a:gd name="T0" fmla="*/ 12 w 423"/>
              <a:gd name="T1" fmla="*/ 41 h 522"/>
              <a:gd name="T2" fmla="*/ 12 w 423"/>
              <a:gd name="T3" fmla="*/ 58 h 522"/>
              <a:gd name="T4" fmla="*/ 263 w 423"/>
              <a:gd name="T5" fmla="*/ 305 h 522"/>
              <a:gd name="T6" fmla="*/ 211 w 423"/>
              <a:gd name="T7" fmla="*/ 299 h 522"/>
              <a:gd name="T8" fmla="*/ 243 w 423"/>
              <a:gd name="T9" fmla="*/ 517 h 522"/>
              <a:gd name="T10" fmla="*/ 256 w 423"/>
              <a:gd name="T11" fmla="*/ 522 h 522"/>
              <a:gd name="T12" fmla="*/ 423 w 423"/>
              <a:gd name="T13" fmla="*/ 343 h 522"/>
              <a:gd name="T14" fmla="*/ 369 w 423"/>
              <a:gd name="T15" fmla="*/ 328 h 522"/>
              <a:gd name="T16" fmla="*/ 12 w 423"/>
              <a:gd name="T17" fmla="*/ 41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522">
                <a:moveTo>
                  <a:pt x="12" y="41"/>
                </a:moveTo>
                <a:cubicBezTo>
                  <a:pt x="0" y="41"/>
                  <a:pt x="12" y="58"/>
                  <a:pt x="12" y="58"/>
                </a:cubicBezTo>
                <a:cubicBezTo>
                  <a:pt x="215" y="53"/>
                  <a:pt x="269" y="243"/>
                  <a:pt x="263" y="305"/>
                </a:cubicBezTo>
                <a:cubicBezTo>
                  <a:pt x="263" y="305"/>
                  <a:pt x="229" y="292"/>
                  <a:pt x="211" y="299"/>
                </a:cubicBezTo>
                <a:cubicBezTo>
                  <a:pt x="231" y="396"/>
                  <a:pt x="243" y="517"/>
                  <a:pt x="243" y="517"/>
                </a:cubicBezTo>
                <a:lnTo>
                  <a:pt x="256" y="522"/>
                </a:lnTo>
                <a:cubicBezTo>
                  <a:pt x="256" y="522"/>
                  <a:pt x="400" y="455"/>
                  <a:pt x="423" y="343"/>
                </a:cubicBezTo>
                <a:cubicBezTo>
                  <a:pt x="402" y="331"/>
                  <a:pt x="369" y="328"/>
                  <a:pt x="369" y="328"/>
                </a:cubicBezTo>
                <a:cubicBezTo>
                  <a:pt x="363" y="173"/>
                  <a:pt x="317" y="0"/>
                  <a:pt x="12" y="4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arget">
            <a:extLst>
              <a:ext uri="{FF2B5EF4-FFF2-40B4-BE49-F238E27FC236}">
                <a16:creationId xmlns:a16="http://schemas.microsoft.com/office/drawing/2014/main" id="{F4DA12D1-7407-D2F7-C9CA-66C49E691B09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 rot="7341175">
            <a:off x="2486768" y="5040321"/>
            <a:ext cx="953785" cy="964108"/>
          </a:xfrm>
          <a:custGeom>
            <a:avLst/>
            <a:gdLst>
              <a:gd name="T0" fmla="*/ 12 w 423"/>
              <a:gd name="T1" fmla="*/ 41 h 522"/>
              <a:gd name="T2" fmla="*/ 12 w 423"/>
              <a:gd name="T3" fmla="*/ 58 h 522"/>
              <a:gd name="T4" fmla="*/ 263 w 423"/>
              <a:gd name="T5" fmla="*/ 305 h 522"/>
              <a:gd name="T6" fmla="*/ 211 w 423"/>
              <a:gd name="T7" fmla="*/ 299 h 522"/>
              <a:gd name="T8" fmla="*/ 243 w 423"/>
              <a:gd name="T9" fmla="*/ 517 h 522"/>
              <a:gd name="T10" fmla="*/ 256 w 423"/>
              <a:gd name="T11" fmla="*/ 522 h 522"/>
              <a:gd name="T12" fmla="*/ 423 w 423"/>
              <a:gd name="T13" fmla="*/ 343 h 522"/>
              <a:gd name="T14" fmla="*/ 369 w 423"/>
              <a:gd name="T15" fmla="*/ 328 h 522"/>
              <a:gd name="T16" fmla="*/ 12 w 423"/>
              <a:gd name="T17" fmla="*/ 41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522">
                <a:moveTo>
                  <a:pt x="12" y="41"/>
                </a:moveTo>
                <a:cubicBezTo>
                  <a:pt x="0" y="41"/>
                  <a:pt x="12" y="58"/>
                  <a:pt x="12" y="58"/>
                </a:cubicBezTo>
                <a:cubicBezTo>
                  <a:pt x="215" y="53"/>
                  <a:pt x="269" y="243"/>
                  <a:pt x="263" y="305"/>
                </a:cubicBezTo>
                <a:cubicBezTo>
                  <a:pt x="263" y="305"/>
                  <a:pt x="229" y="292"/>
                  <a:pt x="211" y="299"/>
                </a:cubicBezTo>
                <a:cubicBezTo>
                  <a:pt x="231" y="396"/>
                  <a:pt x="243" y="517"/>
                  <a:pt x="243" y="517"/>
                </a:cubicBezTo>
                <a:lnTo>
                  <a:pt x="256" y="522"/>
                </a:lnTo>
                <a:cubicBezTo>
                  <a:pt x="256" y="522"/>
                  <a:pt x="400" y="455"/>
                  <a:pt x="423" y="343"/>
                </a:cubicBezTo>
                <a:cubicBezTo>
                  <a:pt x="402" y="331"/>
                  <a:pt x="369" y="328"/>
                  <a:pt x="369" y="328"/>
                </a:cubicBezTo>
                <a:cubicBezTo>
                  <a:pt x="363" y="173"/>
                  <a:pt x="317" y="0"/>
                  <a:pt x="12" y="4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arget">
            <a:extLst>
              <a:ext uri="{FF2B5EF4-FFF2-40B4-BE49-F238E27FC236}">
                <a16:creationId xmlns:a16="http://schemas.microsoft.com/office/drawing/2014/main" id="{F42738D6-F8F2-9F92-C34C-6B12EE792869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 rot="18141175">
            <a:off x="8370074" y="2063457"/>
            <a:ext cx="953785" cy="964108"/>
          </a:xfrm>
          <a:custGeom>
            <a:avLst/>
            <a:gdLst>
              <a:gd name="T0" fmla="*/ 12 w 423"/>
              <a:gd name="T1" fmla="*/ 41 h 522"/>
              <a:gd name="T2" fmla="*/ 12 w 423"/>
              <a:gd name="T3" fmla="*/ 58 h 522"/>
              <a:gd name="T4" fmla="*/ 263 w 423"/>
              <a:gd name="T5" fmla="*/ 305 h 522"/>
              <a:gd name="T6" fmla="*/ 211 w 423"/>
              <a:gd name="T7" fmla="*/ 299 h 522"/>
              <a:gd name="T8" fmla="*/ 243 w 423"/>
              <a:gd name="T9" fmla="*/ 517 h 522"/>
              <a:gd name="T10" fmla="*/ 256 w 423"/>
              <a:gd name="T11" fmla="*/ 522 h 522"/>
              <a:gd name="T12" fmla="*/ 423 w 423"/>
              <a:gd name="T13" fmla="*/ 343 h 522"/>
              <a:gd name="T14" fmla="*/ 369 w 423"/>
              <a:gd name="T15" fmla="*/ 328 h 522"/>
              <a:gd name="T16" fmla="*/ 12 w 423"/>
              <a:gd name="T17" fmla="*/ 41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522">
                <a:moveTo>
                  <a:pt x="12" y="41"/>
                </a:moveTo>
                <a:cubicBezTo>
                  <a:pt x="0" y="41"/>
                  <a:pt x="12" y="58"/>
                  <a:pt x="12" y="58"/>
                </a:cubicBezTo>
                <a:cubicBezTo>
                  <a:pt x="215" y="53"/>
                  <a:pt x="269" y="243"/>
                  <a:pt x="263" y="305"/>
                </a:cubicBezTo>
                <a:cubicBezTo>
                  <a:pt x="263" y="305"/>
                  <a:pt x="229" y="292"/>
                  <a:pt x="211" y="299"/>
                </a:cubicBezTo>
                <a:cubicBezTo>
                  <a:pt x="231" y="396"/>
                  <a:pt x="243" y="517"/>
                  <a:pt x="243" y="517"/>
                </a:cubicBezTo>
                <a:lnTo>
                  <a:pt x="256" y="522"/>
                </a:lnTo>
                <a:cubicBezTo>
                  <a:pt x="256" y="522"/>
                  <a:pt x="400" y="455"/>
                  <a:pt x="423" y="343"/>
                </a:cubicBezTo>
                <a:cubicBezTo>
                  <a:pt x="402" y="331"/>
                  <a:pt x="369" y="328"/>
                  <a:pt x="369" y="328"/>
                </a:cubicBezTo>
                <a:cubicBezTo>
                  <a:pt x="363" y="173"/>
                  <a:pt x="317" y="0"/>
                  <a:pt x="12" y="4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arget">
            <a:extLst>
              <a:ext uri="{FF2B5EF4-FFF2-40B4-BE49-F238E27FC236}">
                <a16:creationId xmlns:a16="http://schemas.microsoft.com/office/drawing/2014/main" id="{FD13BC3C-59A8-4829-8A72-4D2106D9DF5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 rot="14258825" flipH="1">
            <a:off x="8370074" y="5040321"/>
            <a:ext cx="953785" cy="964108"/>
          </a:xfrm>
          <a:custGeom>
            <a:avLst/>
            <a:gdLst>
              <a:gd name="T0" fmla="*/ 12 w 423"/>
              <a:gd name="T1" fmla="*/ 41 h 522"/>
              <a:gd name="T2" fmla="*/ 12 w 423"/>
              <a:gd name="T3" fmla="*/ 58 h 522"/>
              <a:gd name="T4" fmla="*/ 263 w 423"/>
              <a:gd name="T5" fmla="*/ 305 h 522"/>
              <a:gd name="T6" fmla="*/ 211 w 423"/>
              <a:gd name="T7" fmla="*/ 299 h 522"/>
              <a:gd name="T8" fmla="*/ 243 w 423"/>
              <a:gd name="T9" fmla="*/ 517 h 522"/>
              <a:gd name="T10" fmla="*/ 256 w 423"/>
              <a:gd name="T11" fmla="*/ 522 h 522"/>
              <a:gd name="T12" fmla="*/ 423 w 423"/>
              <a:gd name="T13" fmla="*/ 343 h 522"/>
              <a:gd name="T14" fmla="*/ 369 w 423"/>
              <a:gd name="T15" fmla="*/ 328 h 522"/>
              <a:gd name="T16" fmla="*/ 12 w 423"/>
              <a:gd name="T17" fmla="*/ 41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522">
                <a:moveTo>
                  <a:pt x="12" y="41"/>
                </a:moveTo>
                <a:cubicBezTo>
                  <a:pt x="0" y="41"/>
                  <a:pt x="12" y="58"/>
                  <a:pt x="12" y="58"/>
                </a:cubicBezTo>
                <a:cubicBezTo>
                  <a:pt x="215" y="53"/>
                  <a:pt x="269" y="243"/>
                  <a:pt x="263" y="305"/>
                </a:cubicBezTo>
                <a:cubicBezTo>
                  <a:pt x="263" y="305"/>
                  <a:pt x="229" y="292"/>
                  <a:pt x="211" y="299"/>
                </a:cubicBezTo>
                <a:cubicBezTo>
                  <a:pt x="231" y="396"/>
                  <a:pt x="243" y="517"/>
                  <a:pt x="243" y="517"/>
                </a:cubicBezTo>
                <a:lnTo>
                  <a:pt x="256" y="522"/>
                </a:lnTo>
                <a:cubicBezTo>
                  <a:pt x="256" y="522"/>
                  <a:pt x="400" y="455"/>
                  <a:pt x="423" y="343"/>
                </a:cubicBezTo>
                <a:cubicBezTo>
                  <a:pt x="402" y="331"/>
                  <a:pt x="369" y="328"/>
                  <a:pt x="369" y="328"/>
                </a:cubicBezTo>
                <a:cubicBezTo>
                  <a:pt x="363" y="173"/>
                  <a:pt x="317" y="0"/>
                  <a:pt x="12" y="4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0932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5D0D4-56CF-36F4-45DF-B995493FB3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E228DF2-A061-9F94-9231-11855AC68A2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9604" r="10604" b="60481"/>
          <a:stretch/>
        </p:blipFill>
        <p:spPr>
          <a:xfrm>
            <a:off x="2828426" y="1811010"/>
            <a:ext cx="6875159" cy="300514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0928686C-8BE1-02CA-9C62-1389FFCDB7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5E7C83C7-015D-D153-955A-125F4234C20E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Conclusions</a:t>
            </a:r>
          </a:p>
        </p:txBody>
      </p:sp>
      <p:sp>
        <p:nvSpPr>
          <p:cNvPr id="6" name="TextBox 82">
            <a:extLst>
              <a:ext uri="{FF2B5EF4-FFF2-40B4-BE49-F238E27FC236}">
                <a16:creationId xmlns:a16="http://schemas.microsoft.com/office/drawing/2014/main" id="{E76A242E-24D4-242C-AE8A-3624123E3322}"/>
              </a:ext>
            </a:extLst>
          </p:cNvPr>
          <p:cNvSpPr txBox="1"/>
          <p:nvPr/>
        </p:nvSpPr>
        <p:spPr>
          <a:xfrm>
            <a:off x="545331" y="2307944"/>
            <a:ext cx="2311344" cy="240065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/>
              <a:t>71% of customers without</a:t>
            </a:r>
          </a:p>
          <a:p>
            <a:pPr>
              <a:defRPr/>
            </a:pPr>
            <a:r>
              <a:rPr lang="en-US" sz="1500" dirty="0"/>
              <a:t>Dependents churn</a:t>
            </a:r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r>
              <a:rPr lang="en-US" sz="1500" dirty="0"/>
              <a:t>98% with month-to-month contract churn</a:t>
            </a: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7" name="TextBox 82">
            <a:extLst>
              <a:ext uri="{FF2B5EF4-FFF2-40B4-BE49-F238E27FC236}">
                <a16:creationId xmlns:a16="http://schemas.microsoft.com/office/drawing/2014/main" id="{6C31FA87-6F8A-6680-806E-C2FE97234BE0}"/>
              </a:ext>
            </a:extLst>
          </p:cNvPr>
          <p:cNvSpPr txBox="1"/>
          <p:nvPr/>
        </p:nvSpPr>
        <p:spPr>
          <a:xfrm>
            <a:off x="9703584" y="2310214"/>
            <a:ext cx="2385439" cy="1477328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/>
              <a:t>83% of non-senior citizen will churn.</a:t>
            </a:r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</p:txBody>
      </p:sp>
      <p:sp>
        <p:nvSpPr>
          <p:cNvPr id="8" name="Target">
            <a:extLst>
              <a:ext uri="{FF2B5EF4-FFF2-40B4-BE49-F238E27FC236}">
                <a16:creationId xmlns:a16="http://schemas.microsoft.com/office/drawing/2014/main" id="{4C30DDDD-0FD0-B454-7D73-A19812C4AF4F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 rot="14258825" flipH="1">
            <a:off x="9226692" y="3093375"/>
            <a:ext cx="953785" cy="964108"/>
          </a:xfrm>
          <a:custGeom>
            <a:avLst/>
            <a:gdLst>
              <a:gd name="T0" fmla="*/ 12 w 423"/>
              <a:gd name="T1" fmla="*/ 41 h 522"/>
              <a:gd name="T2" fmla="*/ 12 w 423"/>
              <a:gd name="T3" fmla="*/ 58 h 522"/>
              <a:gd name="T4" fmla="*/ 263 w 423"/>
              <a:gd name="T5" fmla="*/ 305 h 522"/>
              <a:gd name="T6" fmla="*/ 211 w 423"/>
              <a:gd name="T7" fmla="*/ 299 h 522"/>
              <a:gd name="T8" fmla="*/ 243 w 423"/>
              <a:gd name="T9" fmla="*/ 517 h 522"/>
              <a:gd name="T10" fmla="*/ 256 w 423"/>
              <a:gd name="T11" fmla="*/ 522 h 522"/>
              <a:gd name="T12" fmla="*/ 423 w 423"/>
              <a:gd name="T13" fmla="*/ 343 h 522"/>
              <a:gd name="T14" fmla="*/ 369 w 423"/>
              <a:gd name="T15" fmla="*/ 328 h 522"/>
              <a:gd name="T16" fmla="*/ 12 w 423"/>
              <a:gd name="T17" fmla="*/ 41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522">
                <a:moveTo>
                  <a:pt x="12" y="41"/>
                </a:moveTo>
                <a:cubicBezTo>
                  <a:pt x="0" y="41"/>
                  <a:pt x="12" y="58"/>
                  <a:pt x="12" y="58"/>
                </a:cubicBezTo>
                <a:cubicBezTo>
                  <a:pt x="215" y="53"/>
                  <a:pt x="269" y="243"/>
                  <a:pt x="263" y="305"/>
                </a:cubicBezTo>
                <a:cubicBezTo>
                  <a:pt x="263" y="305"/>
                  <a:pt x="229" y="292"/>
                  <a:pt x="211" y="299"/>
                </a:cubicBezTo>
                <a:cubicBezTo>
                  <a:pt x="231" y="396"/>
                  <a:pt x="243" y="517"/>
                  <a:pt x="243" y="517"/>
                </a:cubicBezTo>
                <a:lnTo>
                  <a:pt x="256" y="522"/>
                </a:lnTo>
                <a:cubicBezTo>
                  <a:pt x="256" y="522"/>
                  <a:pt x="400" y="455"/>
                  <a:pt x="423" y="343"/>
                </a:cubicBezTo>
                <a:cubicBezTo>
                  <a:pt x="402" y="331"/>
                  <a:pt x="369" y="328"/>
                  <a:pt x="369" y="328"/>
                </a:cubicBezTo>
                <a:cubicBezTo>
                  <a:pt x="363" y="173"/>
                  <a:pt x="317" y="0"/>
                  <a:pt x="12" y="4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arget">
            <a:extLst>
              <a:ext uri="{FF2B5EF4-FFF2-40B4-BE49-F238E27FC236}">
                <a16:creationId xmlns:a16="http://schemas.microsoft.com/office/drawing/2014/main" id="{C79907EA-8D25-39F5-94AD-A0578A51F31F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 rot="3458825" flipH="1">
            <a:off x="2011522" y="1537786"/>
            <a:ext cx="953785" cy="964108"/>
          </a:xfrm>
          <a:custGeom>
            <a:avLst/>
            <a:gdLst>
              <a:gd name="T0" fmla="*/ 12 w 423"/>
              <a:gd name="T1" fmla="*/ 41 h 522"/>
              <a:gd name="T2" fmla="*/ 12 w 423"/>
              <a:gd name="T3" fmla="*/ 58 h 522"/>
              <a:gd name="T4" fmla="*/ 263 w 423"/>
              <a:gd name="T5" fmla="*/ 305 h 522"/>
              <a:gd name="T6" fmla="*/ 211 w 423"/>
              <a:gd name="T7" fmla="*/ 299 h 522"/>
              <a:gd name="T8" fmla="*/ 243 w 423"/>
              <a:gd name="T9" fmla="*/ 517 h 522"/>
              <a:gd name="T10" fmla="*/ 256 w 423"/>
              <a:gd name="T11" fmla="*/ 522 h 522"/>
              <a:gd name="T12" fmla="*/ 423 w 423"/>
              <a:gd name="T13" fmla="*/ 343 h 522"/>
              <a:gd name="T14" fmla="*/ 369 w 423"/>
              <a:gd name="T15" fmla="*/ 328 h 522"/>
              <a:gd name="T16" fmla="*/ 12 w 423"/>
              <a:gd name="T17" fmla="*/ 41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522">
                <a:moveTo>
                  <a:pt x="12" y="41"/>
                </a:moveTo>
                <a:cubicBezTo>
                  <a:pt x="0" y="41"/>
                  <a:pt x="12" y="58"/>
                  <a:pt x="12" y="58"/>
                </a:cubicBezTo>
                <a:cubicBezTo>
                  <a:pt x="215" y="53"/>
                  <a:pt x="269" y="243"/>
                  <a:pt x="263" y="305"/>
                </a:cubicBezTo>
                <a:cubicBezTo>
                  <a:pt x="263" y="305"/>
                  <a:pt x="229" y="292"/>
                  <a:pt x="211" y="299"/>
                </a:cubicBezTo>
                <a:cubicBezTo>
                  <a:pt x="231" y="396"/>
                  <a:pt x="243" y="517"/>
                  <a:pt x="243" y="517"/>
                </a:cubicBezTo>
                <a:lnTo>
                  <a:pt x="256" y="522"/>
                </a:lnTo>
                <a:cubicBezTo>
                  <a:pt x="256" y="522"/>
                  <a:pt x="400" y="455"/>
                  <a:pt x="423" y="343"/>
                </a:cubicBezTo>
                <a:cubicBezTo>
                  <a:pt x="402" y="331"/>
                  <a:pt x="369" y="328"/>
                  <a:pt x="369" y="328"/>
                </a:cubicBezTo>
                <a:cubicBezTo>
                  <a:pt x="363" y="173"/>
                  <a:pt x="317" y="0"/>
                  <a:pt x="12" y="4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arget">
            <a:extLst>
              <a:ext uri="{FF2B5EF4-FFF2-40B4-BE49-F238E27FC236}">
                <a16:creationId xmlns:a16="http://schemas.microsoft.com/office/drawing/2014/main" id="{C9803AA8-05A0-20BB-223C-D78C6C6BDAEE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 rot="7341175">
            <a:off x="2011522" y="4514650"/>
            <a:ext cx="953785" cy="964108"/>
          </a:xfrm>
          <a:custGeom>
            <a:avLst/>
            <a:gdLst>
              <a:gd name="T0" fmla="*/ 12 w 423"/>
              <a:gd name="T1" fmla="*/ 41 h 522"/>
              <a:gd name="T2" fmla="*/ 12 w 423"/>
              <a:gd name="T3" fmla="*/ 58 h 522"/>
              <a:gd name="T4" fmla="*/ 263 w 423"/>
              <a:gd name="T5" fmla="*/ 305 h 522"/>
              <a:gd name="T6" fmla="*/ 211 w 423"/>
              <a:gd name="T7" fmla="*/ 299 h 522"/>
              <a:gd name="T8" fmla="*/ 243 w 423"/>
              <a:gd name="T9" fmla="*/ 517 h 522"/>
              <a:gd name="T10" fmla="*/ 256 w 423"/>
              <a:gd name="T11" fmla="*/ 522 h 522"/>
              <a:gd name="T12" fmla="*/ 423 w 423"/>
              <a:gd name="T13" fmla="*/ 343 h 522"/>
              <a:gd name="T14" fmla="*/ 369 w 423"/>
              <a:gd name="T15" fmla="*/ 328 h 522"/>
              <a:gd name="T16" fmla="*/ 12 w 423"/>
              <a:gd name="T17" fmla="*/ 41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522">
                <a:moveTo>
                  <a:pt x="12" y="41"/>
                </a:moveTo>
                <a:cubicBezTo>
                  <a:pt x="0" y="41"/>
                  <a:pt x="12" y="58"/>
                  <a:pt x="12" y="58"/>
                </a:cubicBezTo>
                <a:cubicBezTo>
                  <a:pt x="215" y="53"/>
                  <a:pt x="269" y="243"/>
                  <a:pt x="263" y="305"/>
                </a:cubicBezTo>
                <a:cubicBezTo>
                  <a:pt x="263" y="305"/>
                  <a:pt x="229" y="292"/>
                  <a:pt x="211" y="299"/>
                </a:cubicBezTo>
                <a:cubicBezTo>
                  <a:pt x="231" y="396"/>
                  <a:pt x="243" y="517"/>
                  <a:pt x="243" y="517"/>
                </a:cubicBezTo>
                <a:lnTo>
                  <a:pt x="256" y="522"/>
                </a:lnTo>
                <a:cubicBezTo>
                  <a:pt x="256" y="522"/>
                  <a:pt x="400" y="455"/>
                  <a:pt x="423" y="343"/>
                </a:cubicBezTo>
                <a:cubicBezTo>
                  <a:pt x="402" y="331"/>
                  <a:pt x="369" y="328"/>
                  <a:pt x="369" y="328"/>
                </a:cubicBezTo>
                <a:cubicBezTo>
                  <a:pt x="363" y="173"/>
                  <a:pt x="317" y="0"/>
                  <a:pt x="12" y="4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030306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B69C7C-D334-671D-C47B-F255E3A84D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CBAD3908-57EA-439F-E1B8-EA548C396084}"/>
              </a:ext>
            </a:extLst>
          </p:cNvPr>
          <p:cNvGrpSpPr/>
          <p:nvPr/>
        </p:nvGrpSpPr>
        <p:grpSpPr>
          <a:xfrm>
            <a:off x="1212310" y="1775738"/>
            <a:ext cx="9767379" cy="3163517"/>
            <a:chOff x="1850485" y="2832850"/>
            <a:chExt cx="9153454" cy="2824681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8421C24B-C76A-43FC-43BD-30044580D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557" t="44279"/>
            <a:stretch/>
          </p:blipFill>
          <p:spPr>
            <a:xfrm>
              <a:off x="1850485" y="2832850"/>
              <a:ext cx="9153454" cy="2824681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7B829C0-F6EE-12C7-16C3-028B8366DFEE}"/>
                </a:ext>
              </a:extLst>
            </p:cNvPr>
            <p:cNvSpPr/>
            <p:nvPr/>
          </p:nvSpPr>
          <p:spPr>
            <a:xfrm>
              <a:off x="1850485" y="2832850"/>
              <a:ext cx="3101761" cy="11144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38" name="Picture 37">
            <a:extLst>
              <a:ext uri="{FF2B5EF4-FFF2-40B4-BE49-F238E27FC236}">
                <a16:creationId xmlns:a16="http://schemas.microsoft.com/office/drawing/2014/main" id="{7DC7D9EB-AFE6-F409-D6A7-86F24A95A1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A8D3DA78-0BA4-85BB-8894-D6D3AD38D0FB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Conclusions</a:t>
            </a:r>
          </a:p>
        </p:txBody>
      </p:sp>
      <p:sp>
        <p:nvSpPr>
          <p:cNvPr id="6" name="TextBox 82">
            <a:extLst>
              <a:ext uri="{FF2B5EF4-FFF2-40B4-BE49-F238E27FC236}">
                <a16:creationId xmlns:a16="http://schemas.microsoft.com/office/drawing/2014/main" id="{194D2D72-72B8-A28E-45B0-7BA2C979D4A0}"/>
              </a:ext>
            </a:extLst>
          </p:cNvPr>
          <p:cNvSpPr txBox="1"/>
          <p:nvPr/>
        </p:nvSpPr>
        <p:spPr>
          <a:xfrm>
            <a:off x="577739" y="1410713"/>
            <a:ext cx="2898792" cy="553998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/>
              <a:t>18-41$ &amp; 90-114$ monthly charges groups has lower churn rate</a:t>
            </a:r>
          </a:p>
        </p:txBody>
      </p:sp>
      <p:sp>
        <p:nvSpPr>
          <p:cNvPr id="7" name="TextBox 82">
            <a:extLst>
              <a:ext uri="{FF2B5EF4-FFF2-40B4-BE49-F238E27FC236}">
                <a16:creationId xmlns:a16="http://schemas.microsoft.com/office/drawing/2014/main" id="{E2877F33-3C11-0C30-69A8-DB808C1B7739}"/>
              </a:ext>
            </a:extLst>
          </p:cNvPr>
          <p:cNvSpPr txBox="1"/>
          <p:nvPr/>
        </p:nvSpPr>
        <p:spPr>
          <a:xfrm>
            <a:off x="7176679" y="5191360"/>
            <a:ext cx="3803010" cy="323165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/>
              <a:t>Customer churn in Avg tenure is 23.93 months </a:t>
            </a:r>
          </a:p>
        </p:txBody>
      </p:sp>
      <p:sp>
        <p:nvSpPr>
          <p:cNvPr id="8" name="Target">
            <a:extLst>
              <a:ext uri="{FF2B5EF4-FFF2-40B4-BE49-F238E27FC236}">
                <a16:creationId xmlns:a16="http://schemas.microsoft.com/office/drawing/2014/main" id="{07933865-42AB-8679-D2B2-65EA732C6860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 rot="12741175" flipH="1" flipV="1">
            <a:off x="10797319" y="4278697"/>
            <a:ext cx="953785" cy="964108"/>
          </a:xfrm>
          <a:custGeom>
            <a:avLst/>
            <a:gdLst>
              <a:gd name="T0" fmla="*/ 12 w 423"/>
              <a:gd name="T1" fmla="*/ 41 h 522"/>
              <a:gd name="T2" fmla="*/ 12 w 423"/>
              <a:gd name="T3" fmla="*/ 58 h 522"/>
              <a:gd name="T4" fmla="*/ 263 w 423"/>
              <a:gd name="T5" fmla="*/ 305 h 522"/>
              <a:gd name="T6" fmla="*/ 211 w 423"/>
              <a:gd name="T7" fmla="*/ 299 h 522"/>
              <a:gd name="T8" fmla="*/ 243 w 423"/>
              <a:gd name="T9" fmla="*/ 517 h 522"/>
              <a:gd name="T10" fmla="*/ 256 w 423"/>
              <a:gd name="T11" fmla="*/ 522 h 522"/>
              <a:gd name="T12" fmla="*/ 423 w 423"/>
              <a:gd name="T13" fmla="*/ 343 h 522"/>
              <a:gd name="T14" fmla="*/ 369 w 423"/>
              <a:gd name="T15" fmla="*/ 328 h 522"/>
              <a:gd name="T16" fmla="*/ 12 w 423"/>
              <a:gd name="T17" fmla="*/ 41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522">
                <a:moveTo>
                  <a:pt x="12" y="41"/>
                </a:moveTo>
                <a:cubicBezTo>
                  <a:pt x="0" y="41"/>
                  <a:pt x="12" y="58"/>
                  <a:pt x="12" y="58"/>
                </a:cubicBezTo>
                <a:cubicBezTo>
                  <a:pt x="215" y="53"/>
                  <a:pt x="269" y="243"/>
                  <a:pt x="263" y="305"/>
                </a:cubicBezTo>
                <a:cubicBezTo>
                  <a:pt x="263" y="305"/>
                  <a:pt x="229" y="292"/>
                  <a:pt x="211" y="299"/>
                </a:cubicBezTo>
                <a:cubicBezTo>
                  <a:pt x="231" y="396"/>
                  <a:pt x="243" y="517"/>
                  <a:pt x="243" y="517"/>
                </a:cubicBezTo>
                <a:lnTo>
                  <a:pt x="256" y="522"/>
                </a:lnTo>
                <a:cubicBezTo>
                  <a:pt x="256" y="522"/>
                  <a:pt x="400" y="455"/>
                  <a:pt x="423" y="343"/>
                </a:cubicBezTo>
                <a:cubicBezTo>
                  <a:pt x="402" y="331"/>
                  <a:pt x="369" y="328"/>
                  <a:pt x="369" y="328"/>
                </a:cubicBezTo>
                <a:cubicBezTo>
                  <a:pt x="363" y="173"/>
                  <a:pt x="317" y="0"/>
                  <a:pt x="12" y="4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arget">
            <a:extLst>
              <a:ext uri="{FF2B5EF4-FFF2-40B4-BE49-F238E27FC236}">
                <a16:creationId xmlns:a16="http://schemas.microsoft.com/office/drawing/2014/main" id="{A2819852-427E-6275-2C05-EEEFB6D00AE7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 rot="16956176" flipV="1">
            <a:off x="3373902" y="1578301"/>
            <a:ext cx="953785" cy="964108"/>
          </a:xfrm>
          <a:custGeom>
            <a:avLst/>
            <a:gdLst>
              <a:gd name="T0" fmla="*/ 12 w 423"/>
              <a:gd name="T1" fmla="*/ 41 h 522"/>
              <a:gd name="T2" fmla="*/ 12 w 423"/>
              <a:gd name="T3" fmla="*/ 58 h 522"/>
              <a:gd name="T4" fmla="*/ 263 w 423"/>
              <a:gd name="T5" fmla="*/ 305 h 522"/>
              <a:gd name="T6" fmla="*/ 211 w 423"/>
              <a:gd name="T7" fmla="*/ 299 h 522"/>
              <a:gd name="T8" fmla="*/ 243 w 423"/>
              <a:gd name="T9" fmla="*/ 517 h 522"/>
              <a:gd name="T10" fmla="*/ 256 w 423"/>
              <a:gd name="T11" fmla="*/ 522 h 522"/>
              <a:gd name="T12" fmla="*/ 423 w 423"/>
              <a:gd name="T13" fmla="*/ 343 h 522"/>
              <a:gd name="T14" fmla="*/ 369 w 423"/>
              <a:gd name="T15" fmla="*/ 328 h 522"/>
              <a:gd name="T16" fmla="*/ 12 w 423"/>
              <a:gd name="T17" fmla="*/ 41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522">
                <a:moveTo>
                  <a:pt x="12" y="41"/>
                </a:moveTo>
                <a:cubicBezTo>
                  <a:pt x="0" y="41"/>
                  <a:pt x="12" y="58"/>
                  <a:pt x="12" y="58"/>
                </a:cubicBezTo>
                <a:cubicBezTo>
                  <a:pt x="215" y="53"/>
                  <a:pt x="269" y="243"/>
                  <a:pt x="263" y="305"/>
                </a:cubicBezTo>
                <a:cubicBezTo>
                  <a:pt x="263" y="305"/>
                  <a:pt x="229" y="292"/>
                  <a:pt x="211" y="299"/>
                </a:cubicBezTo>
                <a:cubicBezTo>
                  <a:pt x="231" y="396"/>
                  <a:pt x="243" y="517"/>
                  <a:pt x="243" y="517"/>
                </a:cubicBezTo>
                <a:lnTo>
                  <a:pt x="256" y="522"/>
                </a:lnTo>
                <a:cubicBezTo>
                  <a:pt x="256" y="522"/>
                  <a:pt x="400" y="455"/>
                  <a:pt x="423" y="343"/>
                </a:cubicBezTo>
                <a:cubicBezTo>
                  <a:pt x="402" y="331"/>
                  <a:pt x="369" y="328"/>
                  <a:pt x="369" y="328"/>
                </a:cubicBezTo>
                <a:cubicBezTo>
                  <a:pt x="363" y="173"/>
                  <a:pt x="317" y="0"/>
                  <a:pt x="12" y="4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arget">
            <a:extLst>
              <a:ext uri="{FF2B5EF4-FFF2-40B4-BE49-F238E27FC236}">
                <a16:creationId xmlns:a16="http://schemas.microsoft.com/office/drawing/2014/main" id="{82FFD9AE-DE72-B076-CA93-9A7C496ACB39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 rot="15936979" flipH="1" flipV="1">
            <a:off x="5679314" y="4969544"/>
            <a:ext cx="953785" cy="964108"/>
          </a:xfrm>
          <a:custGeom>
            <a:avLst/>
            <a:gdLst>
              <a:gd name="T0" fmla="*/ 12 w 423"/>
              <a:gd name="T1" fmla="*/ 41 h 522"/>
              <a:gd name="T2" fmla="*/ 12 w 423"/>
              <a:gd name="T3" fmla="*/ 58 h 522"/>
              <a:gd name="T4" fmla="*/ 263 w 423"/>
              <a:gd name="T5" fmla="*/ 305 h 522"/>
              <a:gd name="T6" fmla="*/ 211 w 423"/>
              <a:gd name="T7" fmla="*/ 299 h 522"/>
              <a:gd name="T8" fmla="*/ 243 w 423"/>
              <a:gd name="T9" fmla="*/ 517 h 522"/>
              <a:gd name="T10" fmla="*/ 256 w 423"/>
              <a:gd name="T11" fmla="*/ 522 h 522"/>
              <a:gd name="T12" fmla="*/ 423 w 423"/>
              <a:gd name="T13" fmla="*/ 343 h 522"/>
              <a:gd name="T14" fmla="*/ 369 w 423"/>
              <a:gd name="T15" fmla="*/ 328 h 522"/>
              <a:gd name="T16" fmla="*/ 12 w 423"/>
              <a:gd name="T17" fmla="*/ 41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522">
                <a:moveTo>
                  <a:pt x="12" y="41"/>
                </a:moveTo>
                <a:cubicBezTo>
                  <a:pt x="0" y="41"/>
                  <a:pt x="12" y="58"/>
                  <a:pt x="12" y="58"/>
                </a:cubicBezTo>
                <a:cubicBezTo>
                  <a:pt x="215" y="53"/>
                  <a:pt x="269" y="243"/>
                  <a:pt x="263" y="305"/>
                </a:cubicBezTo>
                <a:cubicBezTo>
                  <a:pt x="263" y="305"/>
                  <a:pt x="229" y="292"/>
                  <a:pt x="211" y="299"/>
                </a:cubicBezTo>
                <a:cubicBezTo>
                  <a:pt x="231" y="396"/>
                  <a:pt x="243" y="517"/>
                  <a:pt x="243" y="517"/>
                </a:cubicBezTo>
                <a:lnTo>
                  <a:pt x="256" y="522"/>
                </a:lnTo>
                <a:cubicBezTo>
                  <a:pt x="256" y="522"/>
                  <a:pt x="400" y="455"/>
                  <a:pt x="423" y="343"/>
                </a:cubicBezTo>
                <a:cubicBezTo>
                  <a:pt x="402" y="331"/>
                  <a:pt x="369" y="328"/>
                  <a:pt x="369" y="328"/>
                </a:cubicBezTo>
                <a:cubicBezTo>
                  <a:pt x="363" y="173"/>
                  <a:pt x="317" y="0"/>
                  <a:pt x="12" y="41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82">
            <a:extLst>
              <a:ext uri="{FF2B5EF4-FFF2-40B4-BE49-F238E27FC236}">
                <a16:creationId xmlns:a16="http://schemas.microsoft.com/office/drawing/2014/main" id="{AD739C20-CE82-E99F-49AD-88202CC506F7}"/>
              </a:ext>
            </a:extLst>
          </p:cNvPr>
          <p:cNvSpPr txBox="1"/>
          <p:nvPr/>
        </p:nvSpPr>
        <p:spPr>
          <a:xfrm>
            <a:off x="3216567" y="5294528"/>
            <a:ext cx="2385439" cy="78483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/>
              <a:t>59% of customer that use electronic check payments will churn</a:t>
            </a:r>
          </a:p>
        </p:txBody>
      </p:sp>
    </p:spTree>
    <p:extLst>
      <p:ext uri="{BB962C8B-B14F-4D97-AF65-F5344CB8AC3E}">
        <p14:creationId xmlns:p14="http://schemas.microsoft.com/office/powerpoint/2010/main" val="15395796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DCB756-5936-14AE-8DB3-81CABDCC50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6F4A7691-A9DF-DCE7-C3D0-A558766E4D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333E563B-3C84-72F3-C793-3EC177D945F0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Summary</a:t>
            </a:r>
          </a:p>
        </p:txBody>
      </p:sp>
      <p:sp>
        <p:nvSpPr>
          <p:cNvPr id="4" name="TextBox 82">
            <a:extLst>
              <a:ext uri="{FF2B5EF4-FFF2-40B4-BE49-F238E27FC236}">
                <a16:creationId xmlns:a16="http://schemas.microsoft.com/office/drawing/2014/main" id="{9D88ECE2-4C74-7735-24D2-8F205EAF52FC}"/>
              </a:ext>
            </a:extLst>
          </p:cNvPr>
          <p:cNvSpPr txBox="1"/>
          <p:nvPr/>
        </p:nvSpPr>
        <p:spPr>
          <a:xfrm>
            <a:off x="988484" y="1135017"/>
            <a:ext cx="9531643" cy="193899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/>
              <a:t>After thoroughly analyzing the churn data, we have developed a strategic plan aimed at reducing customer churn and enhancing loyalty</a:t>
            </a:r>
          </a:p>
          <a:p>
            <a:pPr>
              <a:defRPr/>
            </a:pPr>
            <a:endParaRPr lang="en-US" sz="1500" dirty="0">
              <a:solidFill>
                <a:prstClr val="black"/>
              </a:solidFill>
            </a:endParaRPr>
          </a:p>
          <a:p>
            <a:r>
              <a:rPr lang="en-US" sz="1500" dirty="0"/>
              <a:t>We will suggest the company to create two types of subscriptions, </a:t>
            </a:r>
            <a:r>
              <a:rPr lang="en-US" sz="1500" b="1" dirty="0"/>
              <a:t>Basic plan</a:t>
            </a:r>
            <a:r>
              <a:rPr lang="en-US" sz="1500" dirty="0"/>
              <a:t> and </a:t>
            </a:r>
            <a:r>
              <a:rPr lang="en-US" sz="1500" b="1" dirty="0"/>
              <a:t>Family premium plan </a:t>
            </a:r>
            <a:r>
              <a:rPr lang="en-US" sz="1500" dirty="0"/>
              <a:t>with the following terms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Only for minimum signing of 2 years contr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Only for customers who pays with credit card / bank transfer</a:t>
            </a:r>
          </a:p>
          <a:p>
            <a:r>
              <a:rPr lang="en-US" sz="1500" dirty="0"/>
              <a:t> </a:t>
            </a:r>
          </a:p>
        </p:txBody>
      </p:sp>
      <p:sp>
        <p:nvSpPr>
          <p:cNvPr id="5" name="Flowchart: Alternate Process 4">
            <a:extLst>
              <a:ext uri="{FF2B5EF4-FFF2-40B4-BE49-F238E27FC236}">
                <a16:creationId xmlns:a16="http://schemas.microsoft.com/office/drawing/2014/main" id="{E47E8C59-303C-A03E-1953-CD81CB0AFADA}"/>
              </a:ext>
            </a:extLst>
          </p:cNvPr>
          <p:cNvSpPr/>
          <p:nvPr/>
        </p:nvSpPr>
        <p:spPr>
          <a:xfrm>
            <a:off x="2814440" y="3110385"/>
            <a:ext cx="3022348" cy="887240"/>
          </a:xfrm>
          <a:prstGeom prst="flowChartAlternateProces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sic Plan</a:t>
            </a:r>
            <a:endParaRPr lang="en-GB" dirty="0"/>
          </a:p>
        </p:txBody>
      </p:sp>
      <p:sp>
        <p:nvSpPr>
          <p:cNvPr id="14" name="Flowchart: Alternate Process 13">
            <a:extLst>
              <a:ext uri="{FF2B5EF4-FFF2-40B4-BE49-F238E27FC236}">
                <a16:creationId xmlns:a16="http://schemas.microsoft.com/office/drawing/2014/main" id="{51C7D312-57E8-2972-F232-820DE715379A}"/>
              </a:ext>
            </a:extLst>
          </p:cNvPr>
          <p:cNvSpPr/>
          <p:nvPr/>
        </p:nvSpPr>
        <p:spPr>
          <a:xfrm>
            <a:off x="2814439" y="4047591"/>
            <a:ext cx="3022349" cy="2009697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DSL internet prov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nline 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Device protection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treaming T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treaming Mov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rice 18$-41$</a:t>
            </a:r>
          </a:p>
        </p:txBody>
      </p:sp>
      <p:sp>
        <p:nvSpPr>
          <p:cNvPr id="15" name="Flowchart: Alternate Process 14">
            <a:extLst>
              <a:ext uri="{FF2B5EF4-FFF2-40B4-BE49-F238E27FC236}">
                <a16:creationId xmlns:a16="http://schemas.microsoft.com/office/drawing/2014/main" id="{35C94CF7-5EA5-E7DB-9F0C-C6C9D1B1CAF6}"/>
              </a:ext>
            </a:extLst>
          </p:cNvPr>
          <p:cNvSpPr/>
          <p:nvPr/>
        </p:nvSpPr>
        <p:spPr>
          <a:xfrm>
            <a:off x="6026911" y="3110385"/>
            <a:ext cx="3022348" cy="887240"/>
          </a:xfrm>
          <a:prstGeom prst="flowChartAlternateProces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/>
              <a:t>Family premium plan</a:t>
            </a:r>
            <a:endParaRPr lang="en-GB" dirty="0"/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id="{6E7700A8-203D-0A31-9B3F-FB5F1A5C5D25}"/>
              </a:ext>
            </a:extLst>
          </p:cNvPr>
          <p:cNvSpPr/>
          <p:nvPr/>
        </p:nvSpPr>
        <p:spPr>
          <a:xfrm>
            <a:off x="6026910" y="4047591"/>
            <a:ext cx="3022349" cy="2602700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DSL internet prov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nline 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Device protection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treaming TV (Free family channel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treaming Mov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ech 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rice 90$-114$</a:t>
            </a:r>
          </a:p>
        </p:txBody>
      </p:sp>
    </p:spTree>
    <p:extLst>
      <p:ext uri="{BB962C8B-B14F-4D97-AF65-F5344CB8AC3E}">
        <p14:creationId xmlns:p14="http://schemas.microsoft.com/office/powerpoint/2010/main" val="3677629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FEF856-7F06-299B-0EF6-6A9A02D060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1BBE4F71-0D64-F916-7F00-E02B07933D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36" name="TextBox 82">
            <a:extLst>
              <a:ext uri="{FF2B5EF4-FFF2-40B4-BE49-F238E27FC236}">
                <a16:creationId xmlns:a16="http://schemas.microsoft.com/office/drawing/2014/main" id="{ED079AB1-9DAA-0409-8E17-2EB37B8AB1FC}"/>
              </a:ext>
            </a:extLst>
          </p:cNvPr>
          <p:cNvSpPr txBox="1"/>
          <p:nvPr/>
        </p:nvSpPr>
        <p:spPr>
          <a:xfrm>
            <a:off x="907003" y="895225"/>
            <a:ext cx="10377992" cy="355481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>
                <a:solidFill>
                  <a:prstClr val="black"/>
                </a:solidFill>
              </a:rPr>
              <a:t>Project Python files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Churn_functions.py – Functions for churn prep, split, using algorithm and saving results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500" dirty="0">
                <a:solidFill>
                  <a:prstClr val="black"/>
                </a:solidFill>
              </a:rPr>
              <a:t>MongoDB_prep.py – Functions for MongoDB connection, MQL and Data prep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solidFill>
                  <a:prstClr val="black"/>
                </a:solidFill>
              </a:rPr>
              <a:t>Main.py – Running all function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1500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150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en-US" sz="1500" dirty="0">
                <a:solidFill>
                  <a:prstClr val="black"/>
                </a:solidFill>
              </a:rPr>
              <a:t>Tableau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500" dirty="0">
                <a:solidFill>
                  <a:prstClr val="black"/>
                </a:solidFill>
              </a:rPr>
              <a:t>Tableau Prep file (</a:t>
            </a:r>
            <a:r>
              <a:rPr lang="en-GB" sz="1500" dirty="0" err="1">
                <a:solidFill>
                  <a:prstClr val="black"/>
                </a:solidFill>
              </a:rPr>
              <a:t>tfl</a:t>
            </a:r>
            <a:r>
              <a:rPr lang="en-GB" sz="1500" dirty="0">
                <a:solidFill>
                  <a:prstClr val="black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500" dirty="0">
                <a:solidFill>
                  <a:prstClr val="black"/>
                </a:solidFill>
              </a:rPr>
              <a:t>4 x Tableau Hyper file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500" dirty="0">
                <a:solidFill>
                  <a:prstClr val="black"/>
                </a:solidFill>
              </a:rPr>
              <a:t>Tableau Desktop file (</a:t>
            </a:r>
            <a:r>
              <a:rPr lang="en-GB" sz="1500" dirty="0" err="1">
                <a:solidFill>
                  <a:prstClr val="black"/>
                </a:solidFill>
              </a:rPr>
              <a:t>twb</a:t>
            </a:r>
            <a:r>
              <a:rPr lang="en-GB" sz="1500" dirty="0">
                <a:solidFill>
                  <a:prstClr val="black"/>
                </a:solidFill>
              </a:rPr>
              <a:t>)</a:t>
            </a:r>
          </a:p>
          <a:p>
            <a:pPr>
              <a:defRPr/>
            </a:pPr>
            <a:endParaRPr lang="en-US" sz="150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en-US" sz="1500" dirty="0">
                <a:solidFill>
                  <a:prstClr val="black"/>
                </a:solidFill>
              </a:rPr>
              <a:t>Project Presentation </a:t>
            </a:r>
          </a:p>
          <a:p>
            <a:pPr>
              <a:defRPr/>
            </a:pPr>
            <a:endParaRPr lang="en-US" sz="150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en-US" sz="1500" dirty="0">
                <a:solidFill>
                  <a:prstClr val="black"/>
                </a:solidFill>
              </a:rPr>
              <a:t>All files can be found also in </a:t>
            </a:r>
            <a:r>
              <a:rPr lang="en-US" sz="1500" dirty="0" err="1">
                <a:solidFill>
                  <a:prstClr val="black"/>
                </a:solidFill>
              </a:rPr>
              <a:t>Github</a:t>
            </a:r>
            <a:r>
              <a:rPr lang="en-US" sz="1500" dirty="0">
                <a:solidFill>
                  <a:prstClr val="black"/>
                </a:solidFill>
              </a:rPr>
              <a:t> </a:t>
            </a:r>
            <a:r>
              <a:rPr lang="en-US" sz="1500" dirty="0">
                <a:solidFill>
                  <a:prstClr val="black"/>
                </a:solidFill>
                <a:hlinkClick r:id="rId4"/>
              </a:rPr>
              <a:t>https://github.com/EleanorRigby12/</a:t>
            </a:r>
            <a:endParaRPr lang="en-US" sz="1500" dirty="0">
              <a:solidFill>
                <a:prstClr val="black"/>
              </a:solidFill>
            </a:endParaRPr>
          </a:p>
          <a:p>
            <a:pPr>
              <a:defRPr/>
            </a:pP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1D53A87-3F8D-ACA5-D5EC-9321025D3642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Files</a:t>
            </a:r>
          </a:p>
        </p:txBody>
      </p:sp>
    </p:spTree>
    <p:extLst>
      <p:ext uri="{BB962C8B-B14F-4D97-AF65-F5344CB8AC3E}">
        <p14:creationId xmlns:p14="http://schemas.microsoft.com/office/powerpoint/2010/main" val="10603651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F83AF53-A5F4-FFE2-0B0F-947A19F5F4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DD66ED6-4D89-E41B-449E-2D2C2032A3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2F0D37-2222-7E3E-2091-0A1A22A1A23A}"/>
              </a:ext>
            </a:extLst>
          </p:cNvPr>
          <p:cNvSpPr txBox="1"/>
          <p:nvPr/>
        </p:nvSpPr>
        <p:spPr>
          <a:xfrm>
            <a:off x="838200" y="451381"/>
            <a:ext cx="10512552" cy="40665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6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art A:</a:t>
            </a:r>
          </a:p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600" b="1" dirty="0">
                <a:latin typeface="+mj-lt"/>
                <a:ea typeface="+mj-ea"/>
                <a:cs typeface="+mj-cs"/>
              </a:rPr>
              <a:t>Python </a:t>
            </a:r>
            <a:endParaRPr lang="en-US" sz="66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sketch line">
            <a:extLst>
              <a:ext uri="{FF2B5EF4-FFF2-40B4-BE49-F238E27FC236}">
                <a16:creationId xmlns:a16="http://schemas.microsoft.com/office/drawing/2014/main" id="{C6C9CB84-C0AC-7A00-FA63-C90209E948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8200" y="4718595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Trends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94C4313-11FA-FB6C-7760-5952E46D980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993407" y="2659502"/>
            <a:ext cx="2933331" cy="2080622"/>
            <a:chOff x="7067550" y="5861050"/>
            <a:chExt cx="819150" cy="581026"/>
          </a:xfrm>
          <a:solidFill>
            <a:schemeClr val="tx1"/>
          </a:solidFill>
        </p:grpSpPr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ADD5DFA0-16C9-65A4-305F-8A62A6646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7550" y="5886450"/>
              <a:ext cx="431800" cy="473075"/>
            </a:xfrm>
            <a:custGeom>
              <a:avLst/>
              <a:gdLst>
                <a:gd name="T0" fmla="*/ 50 w 605"/>
                <a:gd name="T1" fmla="*/ 50 h 663"/>
                <a:gd name="T2" fmla="*/ 576 w 605"/>
                <a:gd name="T3" fmla="*/ 50 h 663"/>
                <a:gd name="T4" fmla="*/ 605 w 605"/>
                <a:gd name="T5" fmla="*/ 0 h 663"/>
                <a:gd name="T6" fmla="*/ 43 w 605"/>
                <a:gd name="T7" fmla="*/ 0 h 663"/>
                <a:gd name="T8" fmla="*/ 0 w 605"/>
                <a:gd name="T9" fmla="*/ 43 h 663"/>
                <a:gd name="T10" fmla="*/ 0 w 605"/>
                <a:gd name="T11" fmla="*/ 620 h 663"/>
                <a:gd name="T12" fmla="*/ 43 w 605"/>
                <a:gd name="T13" fmla="*/ 663 h 663"/>
                <a:gd name="T14" fmla="*/ 370 w 605"/>
                <a:gd name="T15" fmla="*/ 663 h 663"/>
                <a:gd name="T16" fmla="*/ 370 w 605"/>
                <a:gd name="T17" fmla="*/ 637 h 663"/>
                <a:gd name="T18" fmla="*/ 406 w 605"/>
                <a:gd name="T19" fmla="*/ 533 h 663"/>
                <a:gd name="T20" fmla="*/ 50 w 605"/>
                <a:gd name="T21" fmla="*/ 533 h 663"/>
                <a:gd name="T22" fmla="*/ 50 w 605"/>
                <a:gd name="T23" fmla="*/ 50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5" h="663">
                  <a:moveTo>
                    <a:pt x="50" y="50"/>
                  </a:moveTo>
                  <a:lnTo>
                    <a:pt x="576" y="50"/>
                  </a:lnTo>
                  <a:cubicBezTo>
                    <a:pt x="583" y="32"/>
                    <a:pt x="593" y="15"/>
                    <a:pt x="605" y="0"/>
                  </a:cubicBezTo>
                  <a:lnTo>
                    <a:pt x="43" y="0"/>
                  </a:lnTo>
                  <a:cubicBezTo>
                    <a:pt x="19" y="0"/>
                    <a:pt x="0" y="19"/>
                    <a:pt x="0" y="43"/>
                  </a:cubicBezTo>
                  <a:lnTo>
                    <a:pt x="0" y="620"/>
                  </a:lnTo>
                  <a:cubicBezTo>
                    <a:pt x="0" y="644"/>
                    <a:pt x="19" y="663"/>
                    <a:pt x="43" y="663"/>
                  </a:cubicBezTo>
                  <a:lnTo>
                    <a:pt x="370" y="663"/>
                  </a:lnTo>
                  <a:lnTo>
                    <a:pt x="370" y="637"/>
                  </a:lnTo>
                  <a:cubicBezTo>
                    <a:pt x="370" y="599"/>
                    <a:pt x="383" y="562"/>
                    <a:pt x="406" y="533"/>
                  </a:cubicBezTo>
                  <a:lnTo>
                    <a:pt x="50" y="533"/>
                  </a:lnTo>
                  <a:lnTo>
                    <a:pt x="50" y="5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Rectangle 88">
              <a:extLst>
                <a:ext uri="{FF2B5EF4-FFF2-40B4-BE49-F238E27FC236}">
                  <a16:creationId xmlns:a16="http://schemas.microsoft.com/office/drawing/2014/main" id="{5CFEFCD3-685F-938C-9E3A-2B89330766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1700" y="6386513"/>
              <a:ext cx="79375" cy="333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89">
              <a:extLst>
                <a:ext uri="{FF2B5EF4-FFF2-40B4-BE49-F238E27FC236}">
                  <a16:creationId xmlns:a16="http://schemas.microsoft.com/office/drawing/2014/main" id="{D063E845-9757-51A7-CC8D-A8357B6B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9175" y="6145213"/>
              <a:ext cx="517525" cy="296863"/>
            </a:xfrm>
            <a:custGeom>
              <a:avLst/>
              <a:gdLst>
                <a:gd name="T0" fmla="*/ 673 w 728"/>
                <a:gd name="T1" fmla="*/ 175 h 418"/>
                <a:gd name="T2" fmla="*/ 440 w 728"/>
                <a:gd name="T3" fmla="*/ 0 h 418"/>
                <a:gd name="T4" fmla="*/ 290 w 728"/>
                <a:gd name="T5" fmla="*/ 0 h 418"/>
                <a:gd name="T6" fmla="*/ 54 w 728"/>
                <a:gd name="T7" fmla="*/ 175 h 418"/>
                <a:gd name="T8" fmla="*/ 0 w 728"/>
                <a:gd name="T9" fmla="*/ 275 h 418"/>
                <a:gd name="T10" fmla="*/ 0 w 728"/>
                <a:gd name="T11" fmla="*/ 418 h 418"/>
                <a:gd name="T12" fmla="*/ 60 w 728"/>
                <a:gd name="T13" fmla="*/ 418 h 418"/>
                <a:gd name="T14" fmla="*/ 60 w 728"/>
                <a:gd name="T15" fmla="*/ 275 h 418"/>
                <a:gd name="T16" fmla="*/ 119 w 728"/>
                <a:gd name="T17" fmla="*/ 215 h 418"/>
                <a:gd name="T18" fmla="*/ 609 w 728"/>
                <a:gd name="T19" fmla="*/ 215 h 418"/>
                <a:gd name="T20" fmla="*/ 668 w 728"/>
                <a:gd name="T21" fmla="*/ 275 h 418"/>
                <a:gd name="T22" fmla="*/ 668 w 728"/>
                <a:gd name="T23" fmla="*/ 418 h 418"/>
                <a:gd name="T24" fmla="*/ 728 w 728"/>
                <a:gd name="T25" fmla="*/ 418 h 418"/>
                <a:gd name="T26" fmla="*/ 728 w 728"/>
                <a:gd name="T27" fmla="*/ 275 h 418"/>
                <a:gd name="T28" fmla="*/ 673 w 728"/>
                <a:gd name="T29" fmla="*/ 175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8" h="418">
                  <a:moveTo>
                    <a:pt x="673" y="175"/>
                  </a:moveTo>
                  <a:cubicBezTo>
                    <a:pt x="659" y="85"/>
                    <a:pt x="609" y="0"/>
                    <a:pt x="440" y="0"/>
                  </a:cubicBezTo>
                  <a:lnTo>
                    <a:pt x="290" y="0"/>
                  </a:lnTo>
                  <a:cubicBezTo>
                    <a:pt x="118" y="0"/>
                    <a:pt x="68" y="87"/>
                    <a:pt x="54" y="175"/>
                  </a:cubicBezTo>
                  <a:cubicBezTo>
                    <a:pt x="22" y="197"/>
                    <a:pt x="0" y="233"/>
                    <a:pt x="0" y="275"/>
                  </a:cubicBezTo>
                  <a:lnTo>
                    <a:pt x="0" y="418"/>
                  </a:lnTo>
                  <a:lnTo>
                    <a:pt x="60" y="418"/>
                  </a:lnTo>
                  <a:lnTo>
                    <a:pt x="60" y="275"/>
                  </a:lnTo>
                  <a:cubicBezTo>
                    <a:pt x="60" y="242"/>
                    <a:pt x="86" y="215"/>
                    <a:pt x="119" y="215"/>
                  </a:cubicBezTo>
                  <a:lnTo>
                    <a:pt x="609" y="215"/>
                  </a:lnTo>
                  <a:cubicBezTo>
                    <a:pt x="642" y="215"/>
                    <a:pt x="668" y="242"/>
                    <a:pt x="668" y="275"/>
                  </a:cubicBezTo>
                  <a:lnTo>
                    <a:pt x="668" y="418"/>
                  </a:lnTo>
                  <a:lnTo>
                    <a:pt x="728" y="418"/>
                  </a:lnTo>
                  <a:lnTo>
                    <a:pt x="728" y="275"/>
                  </a:lnTo>
                  <a:cubicBezTo>
                    <a:pt x="728" y="233"/>
                    <a:pt x="706" y="196"/>
                    <a:pt x="673" y="17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Oval 90">
              <a:extLst>
                <a:ext uri="{FF2B5EF4-FFF2-40B4-BE49-F238E27FC236}">
                  <a16:creationId xmlns:a16="http://schemas.microsoft.com/office/drawing/2014/main" id="{15AF7B89-7E39-542F-28DC-F9FBFA4531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2525" y="5861050"/>
              <a:ext cx="252413" cy="25082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91">
              <a:extLst>
                <a:ext uri="{FF2B5EF4-FFF2-40B4-BE49-F238E27FC236}">
                  <a16:creationId xmlns:a16="http://schemas.microsoft.com/office/drawing/2014/main" id="{5B6FF4A9-B73A-32F6-ED65-210AFCE0E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6010275"/>
              <a:ext cx="306388" cy="176213"/>
            </a:xfrm>
            <a:custGeom>
              <a:avLst/>
              <a:gdLst>
                <a:gd name="T0" fmla="*/ 336 w 430"/>
                <a:gd name="T1" fmla="*/ 144 h 249"/>
                <a:gd name="T2" fmla="*/ 331 w 430"/>
                <a:gd name="T3" fmla="*/ 127 h 249"/>
                <a:gd name="T4" fmla="*/ 378 w 430"/>
                <a:gd name="T5" fmla="*/ 77 h 249"/>
                <a:gd name="T6" fmla="*/ 391 w 430"/>
                <a:gd name="T7" fmla="*/ 79 h 249"/>
                <a:gd name="T8" fmla="*/ 430 w 430"/>
                <a:gd name="T9" fmla="*/ 40 h 249"/>
                <a:gd name="T10" fmla="*/ 391 w 430"/>
                <a:gd name="T11" fmla="*/ 0 h 249"/>
                <a:gd name="T12" fmla="*/ 351 w 430"/>
                <a:gd name="T13" fmla="*/ 40 h 249"/>
                <a:gd name="T14" fmla="*/ 354 w 430"/>
                <a:gd name="T15" fmla="*/ 54 h 249"/>
                <a:gd name="T16" fmla="*/ 305 w 430"/>
                <a:gd name="T17" fmla="*/ 106 h 249"/>
                <a:gd name="T18" fmla="*/ 296 w 430"/>
                <a:gd name="T19" fmla="*/ 105 h 249"/>
                <a:gd name="T20" fmla="*/ 272 w 430"/>
                <a:gd name="T21" fmla="*/ 113 h 249"/>
                <a:gd name="T22" fmla="*/ 189 w 430"/>
                <a:gd name="T23" fmla="*/ 84 h 249"/>
                <a:gd name="T24" fmla="*/ 151 w 430"/>
                <a:gd name="T25" fmla="*/ 56 h 249"/>
                <a:gd name="T26" fmla="*/ 112 w 430"/>
                <a:gd name="T27" fmla="*/ 95 h 249"/>
                <a:gd name="T28" fmla="*/ 113 w 430"/>
                <a:gd name="T29" fmla="*/ 106 h 249"/>
                <a:gd name="T30" fmla="*/ 53 w 430"/>
                <a:gd name="T31" fmla="*/ 173 h 249"/>
                <a:gd name="T32" fmla="*/ 39 w 430"/>
                <a:gd name="T33" fmla="*/ 171 h 249"/>
                <a:gd name="T34" fmla="*/ 0 w 430"/>
                <a:gd name="T35" fmla="*/ 210 h 249"/>
                <a:gd name="T36" fmla="*/ 39 w 430"/>
                <a:gd name="T37" fmla="*/ 249 h 249"/>
                <a:gd name="T38" fmla="*/ 79 w 430"/>
                <a:gd name="T39" fmla="*/ 210 h 249"/>
                <a:gd name="T40" fmla="*/ 76 w 430"/>
                <a:gd name="T41" fmla="*/ 198 h 249"/>
                <a:gd name="T42" fmla="*/ 135 w 430"/>
                <a:gd name="T43" fmla="*/ 131 h 249"/>
                <a:gd name="T44" fmla="*/ 151 w 430"/>
                <a:gd name="T45" fmla="*/ 135 h 249"/>
                <a:gd name="T46" fmla="*/ 184 w 430"/>
                <a:gd name="T47" fmla="*/ 118 h 249"/>
                <a:gd name="T48" fmla="*/ 257 w 430"/>
                <a:gd name="T49" fmla="*/ 143 h 249"/>
                <a:gd name="T50" fmla="*/ 257 w 430"/>
                <a:gd name="T51" fmla="*/ 144 h 249"/>
                <a:gd name="T52" fmla="*/ 296 w 430"/>
                <a:gd name="T53" fmla="*/ 184 h 249"/>
                <a:gd name="T54" fmla="*/ 336 w 430"/>
                <a:gd name="T55" fmla="*/ 14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30" h="249">
                  <a:moveTo>
                    <a:pt x="336" y="144"/>
                  </a:moveTo>
                  <a:cubicBezTo>
                    <a:pt x="336" y="138"/>
                    <a:pt x="334" y="132"/>
                    <a:pt x="331" y="127"/>
                  </a:cubicBezTo>
                  <a:lnTo>
                    <a:pt x="378" y="77"/>
                  </a:lnTo>
                  <a:cubicBezTo>
                    <a:pt x="382" y="78"/>
                    <a:pt x="387" y="79"/>
                    <a:pt x="391" y="79"/>
                  </a:cubicBezTo>
                  <a:cubicBezTo>
                    <a:pt x="413" y="79"/>
                    <a:pt x="430" y="62"/>
                    <a:pt x="430" y="40"/>
                  </a:cubicBezTo>
                  <a:cubicBezTo>
                    <a:pt x="430" y="18"/>
                    <a:pt x="413" y="0"/>
                    <a:pt x="391" y="0"/>
                  </a:cubicBezTo>
                  <a:cubicBezTo>
                    <a:pt x="369" y="0"/>
                    <a:pt x="351" y="18"/>
                    <a:pt x="351" y="40"/>
                  </a:cubicBezTo>
                  <a:cubicBezTo>
                    <a:pt x="351" y="45"/>
                    <a:pt x="352" y="50"/>
                    <a:pt x="354" y="54"/>
                  </a:cubicBezTo>
                  <a:lnTo>
                    <a:pt x="305" y="106"/>
                  </a:lnTo>
                  <a:cubicBezTo>
                    <a:pt x="302" y="105"/>
                    <a:pt x="299" y="105"/>
                    <a:pt x="296" y="105"/>
                  </a:cubicBezTo>
                  <a:cubicBezTo>
                    <a:pt x="287" y="105"/>
                    <a:pt x="279" y="108"/>
                    <a:pt x="272" y="113"/>
                  </a:cubicBezTo>
                  <a:lnTo>
                    <a:pt x="189" y="84"/>
                  </a:lnTo>
                  <a:cubicBezTo>
                    <a:pt x="184" y="68"/>
                    <a:pt x="169" y="56"/>
                    <a:pt x="151" y="56"/>
                  </a:cubicBezTo>
                  <a:cubicBezTo>
                    <a:pt x="130" y="56"/>
                    <a:pt x="112" y="74"/>
                    <a:pt x="112" y="95"/>
                  </a:cubicBezTo>
                  <a:cubicBezTo>
                    <a:pt x="112" y="99"/>
                    <a:pt x="113" y="102"/>
                    <a:pt x="113" y="106"/>
                  </a:cubicBezTo>
                  <a:lnTo>
                    <a:pt x="53" y="173"/>
                  </a:lnTo>
                  <a:cubicBezTo>
                    <a:pt x="49" y="172"/>
                    <a:pt x="44" y="171"/>
                    <a:pt x="39" y="171"/>
                  </a:cubicBezTo>
                  <a:cubicBezTo>
                    <a:pt x="17" y="171"/>
                    <a:pt x="0" y="188"/>
                    <a:pt x="0" y="210"/>
                  </a:cubicBezTo>
                  <a:cubicBezTo>
                    <a:pt x="0" y="232"/>
                    <a:pt x="17" y="249"/>
                    <a:pt x="39" y="249"/>
                  </a:cubicBezTo>
                  <a:cubicBezTo>
                    <a:pt x="61" y="249"/>
                    <a:pt x="79" y="232"/>
                    <a:pt x="79" y="210"/>
                  </a:cubicBezTo>
                  <a:cubicBezTo>
                    <a:pt x="79" y="206"/>
                    <a:pt x="78" y="202"/>
                    <a:pt x="76" y="198"/>
                  </a:cubicBezTo>
                  <a:lnTo>
                    <a:pt x="135" y="131"/>
                  </a:lnTo>
                  <a:cubicBezTo>
                    <a:pt x="140" y="134"/>
                    <a:pt x="146" y="135"/>
                    <a:pt x="151" y="135"/>
                  </a:cubicBezTo>
                  <a:cubicBezTo>
                    <a:pt x="165" y="135"/>
                    <a:pt x="177" y="128"/>
                    <a:pt x="184" y="118"/>
                  </a:cubicBezTo>
                  <a:lnTo>
                    <a:pt x="257" y="143"/>
                  </a:lnTo>
                  <a:cubicBezTo>
                    <a:pt x="257" y="144"/>
                    <a:pt x="257" y="144"/>
                    <a:pt x="257" y="144"/>
                  </a:cubicBezTo>
                  <a:cubicBezTo>
                    <a:pt x="257" y="166"/>
                    <a:pt x="274" y="184"/>
                    <a:pt x="296" y="184"/>
                  </a:cubicBezTo>
                  <a:cubicBezTo>
                    <a:pt x="318" y="184"/>
                    <a:pt x="336" y="166"/>
                    <a:pt x="336" y="14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390991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36" name="TextBox 82">
            <a:extLst>
              <a:ext uri="{FF2B5EF4-FFF2-40B4-BE49-F238E27FC236}">
                <a16:creationId xmlns:a16="http://schemas.microsoft.com/office/drawing/2014/main" id="{478C2577-3C69-81D2-C9E4-4CB491246570}"/>
              </a:ext>
            </a:extLst>
          </p:cNvPr>
          <p:cNvSpPr txBox="1"/>
          <p:nvPr/>
        </p:nvSpPr>
        <p:spPr>
          <a:xfrm>
            <a:off x="907003" y="1846760"/>
            <a:ext cx="10377992" cy="263149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/>
              <a:t>This Telecom company Churn dataset consist of 7043 customers and attributes.</a:t>
            </a:r>
          </a:p>
          <a:p>
            <a:pPr>
              <a:defRPr/>
            </a:pPr>
            <a:r>
              <a:rPr lang="en-US" sz="1500" dirty="0"/>
              <a:t>Churn dataset focusing on their services they use, personal information, account information , tenure and their churn status. </a:t>
            </a:r>
          </a:p>
          <a:p>
            <a:pPr>
              <a:defRPr/>
            </a:pPr>
            <a:r>
              <a:rPr lang="en-US" sz="1500" dirty="0"/>
              <a:t>Our primary goal is to predict churn based on the available customer data and behavior.</a:t>
            </a:r>
          </a:p>
          <a:p>
            <a:pPr>
              <a:defRPr/>
            </a:pPr>
            <a:r>
              <a:rPr lang="en-US" sz="1500" dirty="0"/>
              <a:t>By analyzing churn customer dataset, we are trying to predict customer behavior and understand which customer are at high risk of churn.</a:t>
            </a:r>
          </a:p>
          <a:p>
            <a:pPr>
              <a:defRPr/>
            </a:pPr>
            <a:endParaRPr lang="en-US" sz="1500" dirty="0"/>
          </a:p>
          <a:p>
            <a:pPr>
              <a:defRPr/>
            </a:pPr>
            <a:r>
              <a:rPr lang="en-US" sz="1500" dirty="0"/>
              <a:t>If we can identify </a:t>
            </a:r>
            <a:r>
              <a:rPr lang="en-GB" sz="1500" dirty="0"/>
              <a:t>signs of potential churn, we can create effective retention strategy for each customer therefore reduce client attrition.</a:t>
            </a:r>
          </a:p>
          <a:p>
            <a:pPr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>
              <a:defRPr/>
            </a:pPr>
            <a:r>
              <a:rPr lang="en-US" sz="1500" dirty="0">
                <a:solidFill>
                  <a:prstClr val="black"/>
                </a:solidFill>
              </a:rPr>
              <a:t>We will use predictive insights and analyze customer behavior to see if we can create service bundle or where we can invest that will increase customer loyalty and decrease churn rate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3EBC111-CB5F-CA4F-16C2-2B9F1D76A6BD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The Problem</a:t>
            </a:r>
          </a:p>
        </p:txBody>
      </p:sp>
    </p:spTree>
    <p:extLst>
      <p:ext uri="{BB962C8B-B14F-4D97-AF65-F5344CB8AC3E}">
        <p14:creationId xmlns:p14="http://schemas.microsoft.com/office/powerpoint/2010/main" val="29940586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D6A370D-19E5-A04E-BD69-68A2871F3D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DD06A5E-D752-8E1A-DB58-14E26713BBE0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Data Description</a:t>
            </a:r>
          </a:p>
        </p:txBody>
      </p:sp>
      <p:sp>
        <p:nvSpPr>
          <p:cNvPr id="3" name="TextBox 82">
            <a:extLst>
              <a:ext uri="{FF2B5EF4-FFF2-40B4-BE49-F238E27FC236}">
                <a16:creationId xmlns:a16="http://schemas.microsoft.com/office/drawing/2014/main" id="{FB056AF2-1591-25BD-CA57-2F3586CE7478}"/>
              </a:ext>
            </a:extLst>
          </p:cNvPr>
          <p:cNvSpPr txBox="1"/>
          <p:nvPr/>
        </p:nvSpPr>
        <p:spPr>
          <a:xfrm>
            <a:off x="907003" y="895225"/>
            <a:ext cx="10377992" cy="378565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>
              <a:defRPr/>
            </a:pPr>
            <a:r>
              <a:rPr lang="en-US" sz="1500" dirty="0"/>
              <a:t>This Churn dataset consist of 7043 customers (rows), with each column contains customer attributes</a:t>
            </a:r>
          </a:p>
          <a:p>
            <a:pPr>
              <a:defRPr/>
            </a:pPr>
            <a:r>
              <a:rPr lang="en-US" sz="1500" dirty="0"/>
              <a:t>Dataset was divided into 80/20 ratio – 5635 rows for train set and 1408 for test set</a:t>
            </a:r>
          </a:p>
          <a:p>
            <a:pPr>
              <a:defRPr/>
            </a:pPr>
            <a:endParaRPr lang="en-US" sz="1500" dirty="0"/>
          </a:p>
          <a:p>
            <a:pPr>
              <a:defRPr/>
            </a:pPr>
            <a:r>
              <a:rPr lang="en-US" sz="1500" dirty="0"/>
              <a:t>There are 21 features (attributes) in this dataset, and they can be distributed into 5 groups: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500" b="1" dirty="0"/>
              <a:t>Customer personal information: </a:t>
            </a:r>
            <a:r>
              <a:rPr lang="en-US" sz="1500" dirty="0" err="1"/>
              <a:t>CustomerID</a:t>
            </a:r>
            <a:r>
              <a:rPr lang="en-US" sz="1500" dirty="0"/>
              <a:t>, Gender, </a:t>
            </a:r>
            <a:r>
              <a:rPr lang="en-GB" sz="1500" dirty="0" err="1"/>
              <a:t>SeniorCitizen</a:t>
            </a:r>
            <a:r>
              <a:rPr lang="en-GB" sz="1500" dirty="0"/>
              <a:t>, Partner, Dependent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500" b="1" dirty="0"/>
              <a:t>Customer subscribed services: </a:t>
            </a:r>
            <a:r>
              <a:rPr lang="en-GB" sz="1500" dirty="0" err="1"/>
              <a:t>PhoneService</a:t>
            </a:r>
            <a:r>
              <a:rPr lang="en-GB" sz="1500" dirty="0"/>
              <a:t>, </a:t>
            </a:r>
            <a:r>
              <a:rPr lang="en-GB" sz="1500" dirty="0" err="1"/>
              <a:t>MultipleLines</a:t>
            </a:r>
            <a:r>
              <a:rPr lang="en-GB" sz="1500" dirty="0"/>
              <a:t>, </a:t>
            </a:r>
            <a:r>
              <a:rPr lang="en-GB" sz="1500" dirty="0" err="1"/>
              <a:t>InternetService</a:t>
            </a:r>
            <a:r>
              <a:rPr lang="en-GB" sz="1500" dirty="0"/>
              <a:t>, </a:t>
            </a:r>
            <a:r>
              <a:rPr lang="en-GB" sz="1500" dirty="0" err="1"/>
              <a:t>OnlineSecurity</a:t>
            </a:r>
            <a:r>
              <a:rPr lang="en-GB" sz="1500" dirty="0"/>
              <a:t>, </a:t>
            </a:r>
            <a:r>
              <a:rPr lang="en-GB" sz="1500" dirty="0" err="1"/>
              <a:t>OnlineBackup</a:t>
            </a:r>
            <a:r>
              <a:rPr lang="en-GB" sz="1500" dirty="0"/>
              <a:t>, </a:t>
            </a:r>
            <a:r>
              <a:rPr lang="en-GB" sz="1500" dirty="0" err="1"/>
              <a:t>DeviceProtection</a:t>
            </a:r>
            <a:r>
              <a:rPr lang="en-GB" sz="1500" dirty="0"/>
              <a:t>, </a:t>
            </a:r>
            <a:r>
              <a:rPr lang="en-GB" sz="1500" dirty="0" err="1"/>
              <a:t>TechSupport</a:t>
            </a:r>
            <a:r>
              <a:rPr lang="en-GB" sz="1500" dirty="0"/>
              <a:t>, </a:t>
            </a:r>
            <a:r>
              <a:rPr lang="en-GB" sz="1500" dirty="0" err="1"/>
              <a:t>StreamingTV</a:t>
            </a:r>
            <a:r>
              <a:rPr lang="en-GB" sz="1500" dirty="0"/>
              <a:t>, </a:t>
            </a:r>
            <a:r>
              <a:rPr lang="en-GB" sz="1500" dirty="0" err="1"/>
              <a:t>StreamingMovies</a:t>
            </a:r>
            <a:endParaRPr lang="en-GB" sz="1500" dirty="0"/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500" b="1" dirty="0"/>
              <a:t>Account Information: </a:t>
            </a:r>
            <a:r>
              <a:rPr lang="en-GB" sz="1500" dirty="0"/>
              <a:t>Contract type, </a:t>
            </a:r>
            <a:r>
              <a:rPr lang="en-GB" sz="1500" dirty="0" err="1"/>
              <a:t>PaperlessBilling</a:t>
            </a:r>
            <a:r>
              <a:rPr lang="en-GB" sz="1500" dirty="0"/>
              <a:t>, </a:t>
            </a:r>
            <a:r>
              <a:rPr lang="en-GB" sz="1500" dirty="0" err="1"/>
              <a:t>PaymentMethod</a:t>
            </a:r>
            <a:endParaRPr lang="en-GB" sz="1500" dirty="0"/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500" b="1" dirty="0"/>
              <a:t>Usage information:</a:t>
            </a:r>
            <a:r>
              <a:rPr lang="en-GB" sz="1500" dirty="0"/>
              <a:t> Tenure, </a:t>
            </a:r>
            <a:r>
              <a:rPr lang="en-GB" sz="1500" dirty="0" err="1"/>
              <a:t>MonthlyCharges</a:t>
            </a:r>
            <a:r>
              <a:rPr lang="en-GB" sz="1500" dirty="0"/>
              <a:t>, </a:t>
            </a:r>
            <a:r>
              <a:rPr lang="en-GB" sz="1500" dirty="0" err="1"/>
              <a:t>TotalCharges</a:t>
            </a:r>
            <a:endParaRPr lang="en-GB" sz="1500" dirty="0"/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500" b="1" dirty="0"/>
              <a:t>Churn</a:t>
            </a:r>
            <a:endParaRPr lang="en-US" sz="1500" b="1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1500" dirty="0"/>
          </a:p>
          <a:p>
            <a:pPr>
              <a:defRPr/>
            </a:pPr>
            <a:endParaRPr lang="en-US" sz="1500" dirty="0"/>
          </a:p>
          <a:p>
            <a:pPr>
              <a:defRPr/>
            </a:pPr>
            <a:r>
              <a:rPr lang="en-US" sz="1500" dirty="0"/>
              <a:t>Missing values:</a:t>
            </a:r>
          </a:p>
          <a:p>
            <a:pPr>
              <a:defRPr/>
            </a:pPr>
            <a:r>
              <a:rPr lang="en-GB" sz="1500" dirty="0"/>
              <a:t>There are 11 customers (rows) without </a:t>
            </a:r>
            <a:r>
              <a:rPr lang="en-GB" sz="1500" dirty="0" err="1"/>
              <a:t>TotalCharges</a:t>
            </a:r>
            <a:r>
              <a:rPr lang="en-GB" sz="1500" dirty="0"/>
              <a:t> values</a:t>
            </a:r>
          </a:p>
          <a:p>
            <a:pPr>
              <a:defRPr/>
            </a:pPr>
            <a:r>
              <a:rPr lang="en-GB" sz="1500" dirty="0"/>
              <a:t>Those customers have tenure=0 but monthly charges ≠ 0</a:t>
            </a:r>
          </a:p>
          <a:p>
            <a:pPr>
              <a:defRPr/>
            </a:pPr>
            <a:r>
              <a:rPr lang="en-US" sz="1500" dirty="0"/>
              <a:t>Seems as they </a:t>
            </a:r>
            <a:r>
              <a:rPr lang="en-GB" sz="1500" dirty="0"/>
              <a:t>subscribed to the service on the same month the report was issued, therefore no total charg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51533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7E1CFB6-0E4C-A159-82A7-19171165DE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C9ADFF17-C22C-ACAE-2194-A30E905CCB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ACBD92-F564-8EFF-B64E-B7CB07C5B06B}"/>
              </a:ext>
            </a:extLst>
          </p:cNvPr>
          <p:cNvSpPr txBox="1"/>
          <p:nvPr/>
        </p:nvSpPr>
        <p:spPr>
          <a:xfrm>
            <a:off x="838200" y="451381"/>
            <a:ext cx="10512552" cy="40665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6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Graphs</a:t>
            </a:r>
          </a:p>
        </p:txBody>
      </p:sp>
      <p:sp>
        <p:nvSpPr>
          <p:cNvPr id="15" name="sketch line">
            <a:extLst>
              <a:ext uri="{FF2B5EF4-FFF2-40B4-BE49-F238E27FC236}">
                <a16:creationId xmlns:a16="http://schemas.microsoft.com/office/drawing/2014/main" id="{FA24772E-26A3-E543-4D01-2194E00B85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8200" y="4718595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Trends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736B8E0-23B7-84B5-C918-C87ACCD2D76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993407" y="2659502"/>
            <a:ext cx="2933331" cy="2080622"/>
            <a:chOff x="7067550" y="5861050"/>
            <a:chExt cx="819150" cy="581026"/>
          </a:xfrm>
          <a:solidFill>
            <a:schemeClr val="tx1"/>
          </a:solidFill>
        </p:grpSpPr>
        <p:sp>
          <p:nvSpPr>
            <p:cNvPr id="29" name="Freeform 87">
              <a:extLst>
                <a:ext uri="{FF2B5EF4-FFF2-40B4-BE49-F238E27FC236}">
                  <a16:creationId xmlns:a16="http://schemas.microsoft.com/office/drawing/2014/main" id="{6C386FAE-0E52-9E01-5552-4C0C0404B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7550" y="5886450"/>
              <a:ext cx="431800" cy="473075"/>
            </a:xfrm>
            <a:custGeom>
              <a:avLst/>
              <a:gdLst>
                <a:gd name="T0" fmla="*/ 50 w 605"/>
                <a:gd name="T1" fmla="*/ 50 h 663"/>
                <a:gd name="T2" fmla="*/ 576 w 605"/>
                <a:gd name="T3" fmla="*/ 50 h 663"/>
                <a:gd name="T4" fmla="*/ 605 w 605"/>
                <a:gd name="T5" fmla="*/ 0 h 663"/>
                <a:gd name="T6" fmla="*/ 43 w 605"/>
                <a:gd name="T7" fmla="*/ 0 h 663"/>
                <a:gd name="T8" fmla="*/ 0 w 605"/>
                <a:gd name="T9" fmla="*/ 43 h 663"/>
                <a:gd name="T10" fmla="*/ 0 w 605"/>
                <a:gd name="T11" fmla="*/ 620 h 663"/>
                <a:gd name="T12" fmla="*/ 43 w 605"/>
                <a:gd name="T13" fmla="*/ 663 h 663"/>
                <a:gd name="T14" fmla="*/ 370 w 605"/>
                <a:gd name="T15" fmla="*/ 663 h 663"/>
                <a:gd name="T16" fmla="*/ 370 w 605"/>
                <a:gd name="T17" fmla="*/ 637 h 663"/>
                <a:gd name="T18" fmla="*/ 406 w 605"/>
                <a:gd name="T19" fmla="*/ 533 h 663"/>
                <a:gd name="T20" fmla="*/ 50 w 605"/>
                <a:gd name="T21" fmla="*/ 533 h 663"/>
                <a:gd name="T22" fmla="*/ 50 w 605"/>
                <a:gd name="T23" fmla="*/ 50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5" h="663">
                  <a:moveTo>
                    <a:pt x="50" y="50"/>
                  </a:moveTo>
                  <a:lnTo>
                    <a:pt x="576" y="50"/>
                  </a:lnTo>
                  <a:cubicBezTo>
                    <a:pt x="583" y="32"/>
                    <a:pt x="593" y="15"/>
                    <a:pt x="605" y="0"/>
                  </a:cubicBezTo>
                  <a:lnTo>
                    <a:pt x="43" y="0"/>
                  </a:lnTo>
                  <a:cubicBezTo>
                    <a:pt x="19" y="0"/>
                    <a:pt x="0" y="19"/>
                    <a:pt x="0" y="43"/>
                  </a:cubicBezTo>
                  <a:lnTo>
                    <a:pt x="0" y="620"/>
                  </a:lnTo>
                  <a:cubicBezTo>
                    <a:pt x="0" y="644"/>
                    <a:pt x="19" y="663"/>
                    <a:pt x="43" y="663"/>
                  </a:cubicBezTo>
                  <a:lnTo>
                    <a:pt x="370" y="663"/>
                  </a:lnTo>
                  <a:lnTo>
                    <a:pt x="370" y="637"/>
                  </a:lnTo>
                  <a:cubicBezTo>
                    <a:pt x="370" y="599"/>
                    <a:pt x="383" y="562"/>
                    <a:pt x="406" y="533"/>
                  </a:cubicBezTo>
                  <a:lnTo>
                    <a:pt x="50" y="533"/>
                  </a:lnTo>
                  <a:lnTo>
                    <a:pt x="50" y="5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Rectangle 88">
              <a:extLst>
                <a:ext uri="{FF2B5EF4-FFF2-40B4-BE49-F238E27FC236}">
                  <a16:creationId xmlns:a16="http://schemas.microsoft.com/office/drawing/2014/main" id="{24FCBE3B-B59D-A582-233B-7C475B8F28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1700" y="6386513"/>
              <a:ext cx="79375" cy="333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89">
              <a:extLst>
                <a:ext uri="{FF2B5EF4-FFF2-40B4-BE49-F238E27FC236}">
                  <a16:creationId xmlns:a16="http://schemas.microsoft.com/office/drawing/2014/main" id="{2DDD55EA-CDAB-85E5-757B-818F221BC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9175" y="6145213"/>
              <a:ext cx="517525" cy="296863"/>
            </a:xfrm>
            <a:custGeom>
              <a:avLst/>
              <a:gdLst>
                <a:gd name="T0" fmla="*/ 673 w 728"/>
                <a:gd name="T1" fmla="*/ 175 h 418"/>
                <a:gd name="T2" fmla="*/ 440 w 728"/>
                <a:gd name="T3" fmla="*/ 0 h 418"/>
                <a:gd name="T4" fmla="*/ 290 w 728"/>
                <a:gd name="T5" fmla="*/ 0 h 418"/>
                <a:gd name="T6" fmla="*/ 54 w 728"/>
                <a:gd name="T7" fmla="*/ 175 h 418"/>
                <a:gd name="T8" fmla="*/ 0 w 728"/>
                <a:gd name="T9" fmla="*/ 275 h 418"/>
                <a:gd name="T10" fmla="*/ 0 w 728"/>
                <a:gd name="T11" fmla="*/ 418 h 418"/>
                <a:gd name="T12" fmla="*/ 60 w 728"/>
                <a:gd name="T13" fmla="*/ 418 h 418"/>
                <a:gd name="T14" fmla="*/ 60 w 728"/>
                <a:gd name="T15" fmla="*/ 275 h 418"/>
                <a:gd name="T16" fmla="*/ 119 w 728"/>
                <a:gd name="T17" fmla="*/ 215 h 418"/>
                <a:gd name="T18" fmla="*/ 609 w 728"/>
                <a:gd name="T19" fmla="*/ 215 h 418"/>
                <a:gd name="T20" fmla="*/ 668 w 728"/>
                <a:gd name="T21" fmla="*/ 275 h 418"/>
                <a:gd name="T22" fmla="*/ 668 w 728"/>
                <a:gd name="T23" fmla="*/ 418 h 418"/>
                <a:gd name="T24" fmla="*/ 728 w 728"/>
                <a:gd name="T25" fmla="*/ 418 h 418"/>
                <a:gd name="T26" fmla="*/ 728 w 728"/>
                <a:gd name="T27" fmla="*/ 275 h 418"/>
                <a:gd name="T28" fmla="*/ 673 w 728"/>
                <a:gd name="T29" fmla="*/ 175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8" h="418">
                  <a:moveTo>
                    <a:pt x="673" y="175"/>
                  </a:moveTo>
                  <a:cubicBezTo>
                    <a:pt x="659" y="85"/>
                    <a:pt x="609" y="0"/>
                    <a:pt x="440" y="0"/>
                  </a:cubicBezTo>
                  <a:lnTo>
                    <a:pt x="290" y="0"/>
                  </a:lnTo>
                  <a:cubicBezTo>
                    <a:pt x="118" y="0"/>
                    <a:pt x="68" y="87"/>
                    <a:pt x="54" y="175"/>
                  </a:cubicBezTo>
                  <a:cubicBezTo>
                    <a:pt x="22" y="197"/>
                    <a:pt x="0" y="233"/>
                    <a:pt x="0" y="275"/>
                  </a:cubicBezTo>
                  <a:lnTo>
                    <a:pt x="0" y="418"/>
                  </a:lnTo>
                  <a:lnTo>
                    <a:pt x="60" y="418"/>
                  </a:lnTo>
                  <a:lnTo>
                    <a:pt x="60" y="275"/>
                  </a:lnTo>
                  <a:cubicBezTo>
                    <a:pt x="60" y="242"/>
                    <a:pt x="86" y="215"/>
                    <a:pt x="119" y="215"/>
                  </a:cubicBezTo>
                  <a:lnTo>
                    <a:pt x="609" y="215"/>
                  </a:lnTo>
                  <a:cubicBezTo>
                    <a:pt x="642" y="215"/>
                    <a:pt x="668" y="242"/>
                    <a:pt x="668" y="275"/>
                  </a:cubicBezTo>
                  <a:lnTo>
                    <a:pt x="668" y="418"/>
                  </a:lnTo>
                  <a:lnTo>
                    <a:pt x="728" y="418"/>
                  </a:lnTo>
                  <a:lnTo>
                    <a:pt x="728" y="275"/>
                  </a:lnTo>
                  <a:cubicBezTo>
                    <a:pt x="728" y="233"/>
                    <a:pt x="706" y="196"/>
                    <a:pt x="673" y="17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Oval 90">
              <a:extLst>
                <a:ext uri="{FF2B5EF4-FFF2-40B4-BE49-F238E27FC236}">
                  <a16:creationId xmlns:a16="http://schemas.microsoft.com/office/drawing/2014/main" id="{74973DB3-A5AC-4CAA-3A3C-E6FE29334E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2525" y="5861050"/>
              <a:ext cx="252413" cy="25082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91">
              <a:extLst>
                <a:ext uri="{FF2B5EF4-FFF2-40B4-BE49-F238E27FC236}">
                  <a16:creationId xmlns:a16="http://schemas.microsoft.com/office/drawing/2014/main" id="{E8DD96A8-D615-8C14-E93A-22C30CBBB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6010275"/>
              <a:ext cx="306388" cy="176213"/>
            </a:xfrm>
            <a:custGeom>
              <a:avLst/>
              <a:gdLst>
                <a:gd name="T0" fmla="*/ 336 w 430"/>
                <a:gd name="T1" fmla="*/ 144 h 249"/>
                <a:gd name="T2" fmla="*/ 331 w 430"/>
                <a:gd name="T3" fmla="*/ 127 h 249"/>
                <a:gd name="T4" fmla="*/ 378 w 430"/>
                <a:gd name="T5" fmla="*/ 77 h 249"/>
                <a:gd name="T6" fmla="*/ 391 w 430"/>
                <a:gd name="T7" fmla="*/ 79 h 249"/>
                <a:gd name="T8" fmla="*/ 430 w 430"/>
                <a:gd name="T9" fmla="*/ 40 h 249"/>
                <a:gd name="T10" fmla="*/ 391 w 430"/>
                <a:gd name="T11" fmla="*/ 0 h 249"/>
                <a:gd name="T12" fmla="*/ 351 w 430"/>
                <a:gd name="T13" fmla="*/ 40 h 249"/>
                <a:gd name="T14" fmla="*/ 354 w 430"/>
                <a:gd name="T15" fmla="*/ 54 h 249"/>
                <a:gd name="T16" fmla="*/ 305 w 430"/>
                <a:gd name="T17" fmla="*/ 106 h 249"/>
                <a:gd name="T18" fmla="*/ 296 w 430"/>
                <a:gd name="T19" fmla="*/ 105 h 249"/>
                <a:gd name="T20" fmla="*/ 272 w 430"/>
                <a:gd name="T21" fmla="*/ 113 h 249"/>
                <a:gd name="T22" fmla="*/ 189 w 430"/>
                <a:gd name="T23" fmla="*/ 84 h 249"/>
                <a:gd name="T24" fmla="*/ 151 w 430"/>
                <a:gd name="T25" fmla="*/ 56 h 249"/>
                <a:gd name="T26" fmla="*/ 112 w 430"/>
                <a:gd name="T27" fmla="*/ 95 h 249"/>
                <a:gd name="T28" fmla="*/ 113 w 430"/>
                <a:gd name="T29" fmla="*/ 106 h 249"/>
                <a:gd name="T30" fmla="*/ 53 w 430"/>
                <a:gd name="T31" fmla="*/ 173 h 249"/>
                <a:gd name="T32" fmla="*/ 39 w 430"/>
                <a:gd name="T33" fmla="*/ 171 h 249"/>
                <a:gd name="T34" fmla="*/ 0 w 430"/>
                <a:gd name="T35" fmla="*/ 210 h 249"/>
                <a:gd name="T36" fmla="*/ 39 w 430"/>
                <a:gd name="T37" fmla="*/ 249 h 249"/>
                <a:gd name="T38" fmla="*/ 79 w 430"/>
                <a:gd name="T39" fmla="*/ 210 h 249"/>
                <a:gd name="T40" fmla="*/ 76 w 430"/>
                <a:gd name="T41" fmla="*/ 198 h 249"/>
                <a:gd name="T42" fmla="*/ 135 w 430"/>
                <a:gd name="T43" fmla="*/ 131 h 249"/>
                <a:gd name="T44" fmla="*/ 151 w 430"/>
                <a:gd name="T45" fmla="*/ 135 h 249"/>
                <a:gd name="T46" fmla="*/ 184 w 430"/>
                <a:gd name="T47" fmla="*/ 118 h 249"/>
                <a:gd name="T48" fmla="*/ 257 w 430"/>
                <a:gd name="T49" fmla="*/ 143 h 249"/>
                <a:gd name="T50" fmla="*/ 257 w 430"/>
                <a:gd name="T51" fmla="*/ 144 h 249"/>
                <a:gd name="T52" fmla="*/ 296 w 430"/>
                <a:gd name="T53" fmla="*/ 184 h 249"/>
                <a:gd name="T54" fmla="*/ 336 w 430"/>
                <a:gd name="T55" fmla="*/ 14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30" h="249">
                  <a:moveTo>
                    <a:pt x="336" y="144"/>
                  </a:moveTo>
                  <a:cubicBezTo>
                    <a:pt x="336" y="138"/>
                    <a:pt x="334" y="132"/>
                    <a:pt x="331" y="127"/>
                  </a:cubicBezTo>
                  <a:lnTo>
                    <a:pt x="378" y="77"/>
                  </a:lnTo>
                  <a:cubicBezTo>
                    <a:pt x="382" y="78"/>
                    <a:pt x="387" y="79"/>
                    <a:pt x="391" y="79"/>
                  </a:cubicBezTo>
                  <a:cubicBezTo>
                    <a:pt x="413" y="79"/>
                    <a:pt x="430" y="62"/>
                    <a:pt x="430" y="40"/>
                  </a:cubicBezTo>
                  <a:cubicBezTo>
                    <a:pt x="430" y="18"/>
                    <a:pt x="413" y="0"/>
                    <a:pt x="391" y="0"/>
                  </a:cubicBezTo>
                  <a:cubicBezTo>
                    <a:pt x="369" y="0"/>
                    <a:pt x="351" y="18"/>
                    <a:pt x="351" y="40"/>
                  </a:cubicBezTo>
                  <a:cubicBezTo>
                    <a:pt x="351" y="45"/>
                    <a:pt x="352" y="50"/>
                    <a:pt x="354" y="54"/>
                  </a:cubicBezTo>
                  <a:lnTo>
                    <a:pt x="305" y="106"/>
                  </a:lnTo>
                  <a:cubicBezTo>
                    <a:pt x="302" y="105"/>
                    <a:pt x="299" y="105"/>
                    <a:pt x="296" y="105"/>
                  </a:cubicBezTo>
                  <a:cubicBezTo>
                    <a:pt x="287" y="105"/>
                    <a:pt x="279" y="108"/>
                    <a:pt x="272" y="113"/>
                  </a:cubicBezTo>
                  <a:lnTo>
                    <a:pt x="189" y="84"/>
                  </a:lnTo>
                  <a:cubicBezTo>
                    <a:pt x="184" y="68"/>
                    <a:pt x="169" y="56"/>
                    <a:pt x="151" y="56"/>
                  </a:cubicBezTo>
                  <a:cubicBezTo>
                    <a:pt x="130" y="56"/>
                    <a:pt x="112" y="74"/>
                    <a:pt x="112" y="95"/>
                  </a:cubicBezTo>
                  <a:cubicBezTo>
                    <a:pt x="112" y="99"/>
                    <a:pt x="113" y="102"/>
                    <a:pt x="113" y="106"/>
                  </a:cubicBezTo>
                  <a:lnTo>
                    <a:pt x="53" y="173"/>
                  </a:lnTo>
                  <a:cubicBezTo>
                    <a:pt x="49" y="172"/>
                    <a:pt x="44" y="171"/>
                    <a:pt x="39" y="171"/>
                  </a:cubicBezTo>
                  <a:cubicBezTo>
                    <a:pt x="17" y="171"/>
                    <a:pt x="0" y="188"/>
                    <a:pt x="0" y="210"/>
                  </a:cubicBezTo>
                  <a:cubicBezTo>
                    <a:pt x="0" y="232"/>
                    <a:pt x="17" y="249"/>
                    <a:pt x="39" y="249"/>
                  </a:cubicBezTo>
                  <a:cubicBezTo>
                    <a:pt x="61" y="249"/>
                    <a:pt x="79" y="232"/>
                    <a:pt x="79" y="210"/>
                  </a:cubicBezTo>
                  <a:cubicBezTo>
                    <a:pt x="79" y="206"/>
                    <a:pt x="78" y="202"/>
                    <a:pt x="76" y="198"/>
                  </a:cubicBezTo>
                  <a:lnTo>
                    <a:pt x="135" y="131"/>
                  </a:lnTo>
                  <a:cubicBezTo>
                    <a:pt x="140" y="134"/>
                    <a:pt x="146" y="135"/>
                    <a:pt x="151" y="135"/>
                  </a:cubicBezTo>
                  <a:cubicBezTo>
                    <a:pt x="165" y="135"/>
                    <a:pt x="177" y="128"/>
                    <a:pt x="184" y="118"/>
                  </a:cubicBezTo>
                  <a:lnTo>
                    <a:pt x="257" y="143"/>
                  </a:lnTo>
                  <a:cubicBezTo>
                    <a:pt x="257" y="144"/>
                    <a:pt x="257" y="144"/>
                    <a:pt x="257" y="144"/>
                  </a:cubicBezTo>
                  <a:cubicBezTo>
                    <a:pt x="257" y="166"/>
                    <a:pt x="274" y="184"/>
                    <a:pt x="296" y="184"/>
                  </a:cubicBezTo>
                  <a:cubicBezTo>
                    <a:pt x="318" y="184"/>
                    <a:pt x="336" y="166"/>
                    <a:pt x="336" y="14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5887343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3B6C906C-06DD-9D28-F937-0DBD828E8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315" y="702827"/>
            <a:ext cx="6727369" cy="266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3EBC111-CB5F-CA4F-16C2-2B9F1D76A6BD}"/>
              </a:ext>
            </a:extLst>
          </p:cNvPr>
          <p:cNvSpPr txBox="1"/>
          <p:nvPr/>
        </p:nvSpPr>
        <p:spPr>
          <a:xfrm>
            <a:off x="0" y="187339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/>
              <a:t>Customer Personal Inform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89E318C-F17C-42D9-0C28-E05B9F9481AD}"/>
              </a:ext>
            </a:extLst>
          </p:cNvPr>
          <p:cNvGrpSpPr/>
          <p:nvPr/>
        </p:nvGrpSpPr>
        <p:grpSpPr>
          <a:xfrm>
            <a:off x="266302" y="2034345"/>
            <a:ext cx="11743381" cy="683345"/>
            <a:chOff x="263993" y="3555782"/>
            <a:chExt cx="11743381" cy="68334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8529FF6-D1E6-772D-307B-5C075BEBA0DA}"/>
                </a:ext>
              </a:extLst>
            </p:cNvPr>
            <p:cNvSpPr txBox="1"/>
            <p:nvPr/>
          </p:nvSpPr>
          <p:spPr>
            <a:xfrm>
              <a:off x="3978932" y="3555782"/>
              <a:ext cx="3879851" cy="642340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57150" algn="ctr" defTabSz="914400">
                <a:lnSpc>
                  <a:spcPct val="90000"/>
                </a:lnSpc>
                <a:spcAft>
                  <a:spcPts val="600"/>
                </a:spcAft>
                <a:defRPr sz="1500"/>
              </a:lvl1pPr>
            </a:lstStyle>
            <a:p>
              <a:r>
                <a:rPr lang="en-US" dirty="0"/>
                <a:t>We can see that customers without a partner have more chances to churn</a:t>
              </a:r>
            </a:p>
            <a:p>
              <a:endParaRPr lang="en-US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C1EFA0F-B692-2735-E5A1-C915DC6A85F7}"/>
                </a:ext>
              </a:extLst>
            </p:cNvPr>
            <p:cNvSpPr txBox="1"/>
            <p:nvPr/>
          </p:nvSpPr>
          <p:spPr>
            <a:xfrm>
              <a:off x="8268604" y="3555782"/>
              <a:ext cx="3738770" cy="508218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/>
            </a:bodyPr>
            <a:lstStyle/>
            <a:p>
              <a:pPr marL="57150" algn="ctr" defTabSz="914400">
                <a:lnSpc>
                  <a:spcPct val="90000"/>
                </a:lnSpc>
                <a:spcAft>
                  <a:spcPts val="600"/>
                </a:spcAft>
              </a:pPr>
              <a:r>
                <a:rPr lang="en-US" sz="1500" dirty="0"/>
                <a:t>We can see that customers with no dependents have more change to churn</a:t>
              </a:r>
              <a:endParaRPr lang="en-US" sz="1200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395C6AD-70E7-3AF5-504A-E7B884A974C9}"/>
                </a:ext>
              </a:extLst>
            </p:cNvPr>
            <p:cNvSpPr txBox="1"/>
            <p:nvPr/>
          </p:nvSpPr>
          <p:spPr>
            <a:xfrm>
              <a:off x="263993" y="3596787"/>
              <a:ext cx="3305118" cy="642340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57150" algn="ctr" defTabSz="914400">
                <a:lnSpc>
                  <a:spcPct val="90000"/>
                </a:lnSpc>
                <a:spcAft>
                  <a:spcPts val="600"/>
                </a:spcAft>
                <a:defRPr sz="1500"/>
              </a:lvl1pPr>
            </a:lstStyle>
            <a:p>
              <a:r>
                <a:rPr lang="en-US" dirty="0"/>
                <a:t>We can see that Senior Citizens churn 20% more than non seniors</a:t>
              </a:r>
            </a:p>
          </p:txBody>
        </p:sp>
      </p:grpSp>
      <p:pic>
        <p:nvPicPr>
          <p:cNvPr id="12" name="Picture 14">
            <a:extLst>
              <a:ext uri="{FF2B5EF4-FFF2-40B4-BE49-F238E27FC236}">
                <a16:creationId xmlns:a16="http://schemas.microsoft.com/office/drawing/2014/main" id="{08296910-D440-274B-09CB-A2B5EB7EA6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0986" y="2669785"/>
            <a:ext cx="3803960" cy="29841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6">
            <a:extLst>
              <a:ext uri="{FF2B5EF4-FFF2-40B4-BE49-F238E27FC236}">
                <a16:creationId xmlns:a16="http://schemas.microsoft.com/office/drawing/2014/main" id="{38EA02E4-DB42-A03C-E3F2-01B39C912C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914" y="2672972"/>
            <a:ext cx="3795838" cy="29777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8BD5EF28-AEED-A0CF-1083-366FDA6525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56" y="2669785"/>
            <a:ext cx="3803962" cy="29841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0847674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*figures*numbers*chart*graph*analytics*analysis*growth*line chart*trends*laptop*digital*computer*screen*presentation*analyst*big data*interpretation*monitoring*dashboar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*figures*numbers*chart*graph*analytics*analysis*growth*line chart*trends*laptop*digital*computer*screen*presentation*analyst*big data*interpretation*monitoring*dashboar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Puzzle_pieces_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*figures*numbers*chart*graph*analytics*analysis*growth*line chart*trends*laptop*digital*computer*screen*presentation*analyst*big data*interpretation*monitoring*dashboar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Puzzle_pieces_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*figures*numbers*chart*graph*analytics*analysis*growth*line chart*trends*laptop*digital*computer*screen*presentation*analyst*big data*interpretation*monitoring*dashboar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*figures*numbers*chart*graph*analytics*analysis*growth*line chart*trends*laptop*digital*computer*screen*presentation*analyst*big data*interpretation*monitoring*dashboard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5E723B6B4CCC84CA68C7047F5BEA25C" ma:contentTypeVersion="8" ma:contentTypeDescription="Create a new document." ma:contentTypeScope="" ma:versionID="720bfb12df459b905e68d1a459e8f36c">
  <xsd:schema xmlns:xsd="http://www.w3.org/2001/XMLSchema" xmlns:xs="http://www.w3.org/2001/XMLSchema" xmlns:p="http://schemas.microsoft.com/office/2006/metadata/properties" xmlns:ns2="38a0950f-35ae-497b-88ab-1e864888aa4a" targetNamespace="http://schemas.microsoft.com/office/2006/metadata/properties" ma:root="true" ma:fieldsID="73a8d9d7085aa4c8ee672d58f47b1219" ns2:_="">
    <xsd:import namespace="38a0950f-35ae-497b-88ab-1e864888aa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a0950f-35ae-497b-88ab-1e864888aa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35C0A72-A6BE-497D-AD19-138E184E821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568892E-AD24-46C4-B72C-085A945E4438}">
  <ds:schemaRefs>
    <ds:schemaRef ds:uri="38a0950f-35ae-497b-88ab-1e864888aa4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014A550-FD6E-4B10-8FA9-5853C76EF2D0}">
  <ds:schemaRefs>
    <ds:schemaRef ds:uri="http://www.w3.org/XML/1998/namespace"/>
    <ds:schemaRef ds:uri="http://purl.org/dc/dcmitype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38a0950f-35ae-497b-88ab-1e864888aa4a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361</TotalTime>
  <Words>2159</Words>
  <Application>Microsoft Office PowerPoint</Application>
  <PresentationFormat>Widescreen</PresentationFormat>
  <Paragraphs>309</Paragraphs>
  <Slides>37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3" baseType="lpstr">
      <vt:lpstr>Aptos</vt:lpstr>
      <vt:lpstr>Aptos Display</vt:lpstr>
      <vt:lpstr>Arial</vt:lpstr>
      <vt:lpstr>Calibri</vt:lpstr>
      <vt:lpstr>Office Theme</vt:lpstr>
      <vt:lpstr>think-cell Slide</vt:lpstr>
      <vt:lpstr>BDA Project</vt:lpstr>
      <vt:lpstr>Tea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adar, Gil</dc:creator>
  <cp:lastModifiedBy>Hadar, Gil</cp:lastModifiedBy>
  <cp:revision>8</cp:revision>
  <dcterms:created xsi:type="dcterms:W3CDTF">2024-10-15T15:39:37Z</dcterms:created>
  <dcterms:modified xsi:type="dcterms:W3CDTF">2025-01-05T21:1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E723B6B4CCC84CA68C7047F5BEA25C</vt:lpwstr>
  </property>
</Properties>
</file>